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7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8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  <p:sldMasterId id="2147483696" r:id="rId2"/>
    <p:sldMasterId id="2147483699" r:id="rId3"/>
    <p:sldMasterId id="2147483707" r:id="rId4"/>
    <p:sldMasterId id="2147483712" r:id="rId5"/>
    <p:sldMasterId id="2147483715" r:id="rId6"/>
    <p:sldMasterId id="2147483724" r:id="rId7"/>
    <p:sldMasterId id="2147483729" r:id="rId8"/>
    <p:sldMasterId id="2147483732" r:id="rId9"/>
  </p:sldMasterIdLst>
  <p:notesMasterIdLst>
    <p:notesMasterId r:id="rId15"/>
  </p:notesMasterIdLst>
  <p:handoutMasterIdLst>
    <p:handoutMasterId r:id="rId16"/>
  </p:handoutMasterIdLst>
  <p:sldIdLst>
    <p:sldId id="313" r:id="rId10"/>
    <p:sldId id="274" r:id="rId11"/>
    <p:sldId id="338" r:id="rId12"/>
    <p:sldId id="339" r:id="rId13"/>
    <p:sldId id="322" r:id="rId14"/>
  </p:sldIdLst>
  <p:sldSz cx="9144000" cy="6858000" type="screen4x3"/>
  <p:notesSz cx="6805613" cy="9939338"/>
  <p:custShowLst>
    <p:custShow name="Произвольный показ 1" id="0">
      <p:sldLst/>
    </p:custShow>
  </p:custShowLst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Arial" charset="0"/>
      <a:defRPr sz="1400" kern="1200">
        <a:solidFill>
          <a:schemeClr val="bg1"/>
        </a:solidFill>
        <a:latin typeface="Arial" charset="0"/>
        <a:ea typeface="Arial Unicode MS" pitchFamily="34" charset="-128"/>
        <a:cs typeface="Arial Unicode MS" pitchFamily="34" charset="-128"/>
      </a:defRPr>
    </a:lvl1pPr>
    <a:lvl2pPr marL="4572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Arial" charset="0"/>
      <a:defRPr sz="1400" kern="1200">
        <a:solidFill>
          <a:schemeClr val="bg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9144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Arial" charset="0"/>
      <a:defRPr sz="1400" kern="1200">
        <a:solidFill>
          <a:schemeClr val="bg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371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Arial" charset="0"/>
      <a:defRPr sz="1400" kern="1200">
        <a:solidFill>
          <a:schemeClr val="bg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18288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Arial" charset="0"/>
      <a:defRPr sz="1400" kern="1200">
        <a:solidFill>
          <a:schemeClr val="bg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400" kern="1200">
        <a:solidFill>
          <a:schemeClr val="bg1"/>
        </a:solidFill>
        <a:latin typeface="Arial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sz="1400" kern="1200">
        <a:solidFill>
          <a:schemeClr val="bg1"/>
        </a:solidFill>
        <a:latin typeface="Arial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sz="1400" kern="1200">
        <a:solidFill>
          <a:schemeClr val="bg1"/>
        </a:solidFill>
        <a:latin typeface="Arial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sz="1400" kern="1200">
        <a:solidFill>
          <a:schemeClr val="bg1"/>
        </a:solidFill>
        <a:latin typeface="Arial" charset="0"/>
        <a:ea typeface="Arial Unicode MS" pitchFamily="34" charset="-128"/>
        <a:cs typeface="Arial Unicode MS" pitchFamily="34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26" userDrawn="1">
          <p15:clr>
            <a:srgbClr val="A4A3A4"/>
          </p15:clr>
        </p15:guide>
        <p15:guide id="2" pos="2233" userDrawn="1">
          <p15:clr>
            <a:srgbClr val="A4A3A4"/>
          </p15:clr>
        </p15:guide>
        <p15:guide id="3" orient="horz" pos="2895" userDrawn="1">
          <p15:clr>
            <a:srgbClr val="A4A3A4"/>
          </p15:clr>
        </p15:guide>
        <p15:guide id="4" pos="2206" userDrawn="1">
          <p15:clr>
            <a:srgbClr val="A4A3A4"/>
          </p15:clr>
        </p15:guide>
        <p15:guide id="5" orient="horz" pos="2741" userDrawn="1">
          <p15:clr>
            <a:srgbClr val="A4A3A4"/>
          </p15:clr>
        </p15:guide>
        <p15:guide id="6" orient="horz" pos="291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SSO,GIOVANNI BATTISTA" initials="GB" lastIdx="2" clrIdx="0">
    <p:extLst>
      <p:ext uri="{19B8F6BF-5375-455C-9EA6-DF929625EA0E}">
        <p15:presenceInfo xmlns:p15="http://schemas.microsoft.com/office/powerpoint/2012/main" userId="S-1-5-21-412299003-594166681-732247886-1010300" providerId="AD"/>
      </p:ext>
    </p:extLst>
  </p:cmAuthor>
  <p:cmAuthor id="2" name="Dmytriieva Anastasiia Oleksandrivna" initials="DAO" lastIdx="2" clrIdx="1">
    <p:extLst>
      <p:ext uri="{19B8F6BF-5375-455C-9EA6-DF929625EA0E}">
        <p15:presenceInfo xmlns:p15="http://schemas.microsoft.com/office/powerpoint/2012/main" userId="S-1-5-21-463165894-3900373238-2189711874-289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1" autoAdjust="0"/>
    <p:restoredTop sz="96187" autoAdjust="0"/>
  </p:normalViewPr>
  <p:slideViewPr>
    <p:cSldViewPr>
      <p:cViewPr varScale="1">
        <p:scale>
          <a:sx n="66" d="100"/>
          <a:sy n="66" d="100"/>
        </p:scale>
        <p:origin x="1412" y="32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9" d="100"/>
          <a:sy n="109" d="100"/>
        </p:scale>
        <p:origin x="-306" y="-78"/>
      </p:cViewPr>
      <p:guideLst>
        <p:guide orient="horz" pos="2726"/>
        <p:guide pos="2233"/>
        <p:guide orient="horz" pos="2895"/>
        <p:guide pos="2206"/>
        <p:guide orient="horz" pos="2741"/>
        <p:guide orient="horz" pos="291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9563" cy="497541"/>
          </a:xfrm>
          <a:prstGeom prst="rect">
            <a:avLst/>
          </a:prstGeom>
        </p:spPr>
        <p:txBody>
          <a:bodyPr vert="horz" lIns="91541" tIns="45770" rIns="91541" bIns="4577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891" y="1"/>
            <a:ext cx="2949563" cy="497541"/>
          </a:xfrm>
          <a:prstGeom prst="rect">
            <a:avLst/>
          </a:prstGeom>
        </p:spPr>
        <p:txBody>
          <a:bodyPr vert="horz" lIns="91541" tIns="45770" rIns="91541" bIns="45770" rtlCol="0"/>
          <a:lstStyle>
            <a:lvl1pPr algn="r">
              <a:defRPr sz="1200"/>
            </a:lvl1pPr>
          </a:lstStyle>
          <a:p>
            <a:fld id="{2E39EE98-893B-44B8-A820-2845B4322393}" type="datetimeFigureOut">
              <a:rPr lang="uk-UA" smtClean="0"/>
              <a:t>25.04.2022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439507"/>
            <a:ext cx="2949563" cy="497539"/>
          </a:xfrm>
          <a:prstGeom prst="rect">
            <a:avLst/>
          </a:prstGeom>
        </p:spPr>
        <p:txBody>
          <a:bodyPr vert="horz" lIns="91541" tIns="45770" rIns="91541" bIns="4577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891" y="9439507"/>
            <a:ext cx="2949563" cy="497539"/>
          </a:xfrm>
          <a:prstGeom prst="rect">
            <a:avLst/>
          </a:prstGeom>
        </p:spPr>
        <p:txBody>
          <a:bodyPr vert="horz" lIns="91541" tIns="45770" rIns="91541" bIns="45770" rtlCol="0" anchor="b"/>
          <a:lstStyle>
            <a:lvl1pPr algn="r">
              <a:defRPr sz="1200"/>
            </a:lvl1pPr>
          </a:lstStyle>
          <a:p>
            <a:fld id="{E8CD8697-9883-478E-A143-FDB7FA988251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2822852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AutoShape 1"/>
          <p:cNvSpPr>
            <a:spLocks noChangeArrowheads="1"/>
          </p:cNvSpPr>
          <p:nvPr/>
        </p:nvSpPr>
        <p:spPr bwMode="auto">
          <a:xfrm>
            <a:off x="1" y="6"/>
            <a:ext cx="6805613" cy="9939338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541" tIns="45770" rIns="91541" bIns="45770" anchor="ctr"/>
          <a:lstStyle/>
          <a:p>
            <a:endParaRPr lang="ru-RU"/>
          </a:p>
        </p:txBody>
      </p:sp>
      <p:sp>
        <p:nvSpPr>
          <p:cNvPr id="15363" name="AutoShape 2"/>
          <p:cNvSpPr>
            <a:spLocks noChangeArrowheads="1"/>
          </p:cNvSpPr>
          <p:nvPr/>
        </p:nvSpPr>
        <p:spPr bwMode="auto">
          <a:xfrm>
            <a:off x="1" y="6"/>
            <a:ext cx="6805613" cy="9939338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541" tIns="45770" rIns="91541" bIns="45770" anchor="ctr"/>
          <a:lstStyle/>
          <a:p>
            <a:endParaRPr lang="ru-RU"/>
          </a:p>
        </p:txBody>
      </p:sp>
      <p:sp>
        <p:nvSpPr>
          <p:cNvPr id="15364" name="AutoShape 3"/>
          <p:cNvSpPr>
            <a:spLocks noChangeArrowheads="1"/>
          </p:cNvSpPr>
          <p:nvPr/>
        </p:nvSpPr>
        <p:spPr bwMode="auto">
          <a:xfrm>
            <a:off x="1" y="6"/>
            <a:ext cx="6805613" cy="9939338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541" tIns="45770" rIns="91541" bIns="45770" anchor="ctr"/>
          <a:lstStyle/>
          <a:p>
            <a:endParaRPr lang="ru-RU"/>
          </a:p>
        </p:txBody>
      </p:sp>
      <p:sp>
        <p:nvSpPr>
          <p:cNvPr id="15365" name="AutoShape 4"/>
          <p:cNvSpPr>
            <a:spLocks noChangeArrowheads="1"/>
          </p:cNvSpPr>
          <p:nvPr/>
        </p:nvSpPr>
        <p:spPr bwMode="auto">
          <a:xfrm>
            <a:off x="1" y="6"/>
            <a:ext cx="6805613" cy="9939338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541" tIns="45770" rIns="91541" bIns="45770" anchor="ctr"/>
          <a:lstStyle/>
          <a:p>
            <a:endParaRPr lang="ru-RU"/>
          </a:p>
        </p:txBody>
      </p:sp>
      <p:sp>
        <p:nvSpPr>
          <p:cNvPr id="15366" name="AutoShape 5"/>
          <p:cNvSpPr>
            <a:spLocks noChangeArrowheads="1"/>
          </p:cNvSpPr>
          <p:nvPr/>
        </p:nvSpPr>
        <p:spPr bwMode="auto">
          <a:xfrm>
            <a:off x="1" y="6"/>
            <a:ext cx="6805613" cy="9939338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541" tIns="45770" rIns="91541" bIns="45770" anchor="ctr"/>
          <a:lstStyle/>
          <a:p>
            <a:endParaRPr lang="ru-RU"/>
          </a:p>
        </p:txBody>
      </p:sp>
      <p:sp>
        <p:nvSpPr>
          <p:cNvPr id="15367" name="AutoShape 6"/>
          <p:cNvSpPr>
            <a:spLocks noChangeArrowheads="1"/>
          </p:cNvSpPr>
          <p:nvPr/>
        </p:nvSpPr>
        <p:spPr bwMode="auto">
          <a:xfrm>
            <a:off x="1" y="6"/>
            <a:ext cx="6805613" cy="9939338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541" tIns="45770" rIns="91541" bIns="45770" anchor="ctr"/>
          <a:lstStyle/>
          <a:p>
            <a:endParaRPr lang="ru-RU"/>
          </a:p>
        </p:txBody>
      </p:sp>
      <p:sp>
        <p:nvSpPr>
          <p:cNvPr id="15368" name="AutoShape 7"/>
          <p:cNvSpPr>
            <a:spLocks noChangeArrowheads="1"/>
          </p:cNvSpPr>
          <p:nvPr/>
        </p:nvSpPr>
        <p:spPr bwMode="auto">
          <a:xfrm>
            <a:off x="1" y="6"/>
            <a:ext cx="6805613" cy="9939338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541" tIns="45770" rIns="91541" bIns="45770" anchor="ctr"/>
          <a:lstStyle/>
          <a:p>
            <a:endParaRPr lang="ru-RU"/>
          </a:p>
        </p:txBody>
      </p:sp>
      <p:sp>
        <p:nvSpPr>
          <p:cNvPr id="4104" name="Rectangle 8"/>
          <p:cNvSpPr>
            <a:spLocks noGrp="1" noChangeArrowheads="1"/>
          </p:cNvSpPr>
          <p:nvPr>
            <p:ph type="hdr"/>
          </p:nvPr>
        </p:nvSpPr>
        <p:spPr bwMode="auto">
          <a:xfrm>
            <a:off x="2" y="6"/>
            <a:ext cx="2937171" cy="485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02" tIns="45320" rIns="91002" bIns="45320" numCol="1" anchor="t" anchorCtr="0" compatLnSpc="1">
            <a:prstTxWarp prst="textNoShape">
              <a:avLst/>
            </a:prstTxWarp>
          </a:bodyPr>
          <a:lstStyle>
            <a:lvl1pPr defTabSz="452936" eaLnBrk="1" hangingPunct="1">
              <a:buSzPct val="45000"/>
              <a:buFont typeface="Wingdings" pitchFamily="2" charset="2"/>
              <a:buNone/>
              <a:tabLst>
                <a:tab pos="729465" algn="l"/>
                <a:tab pos="1457339" algn="l"/>
                <a:tab pos="218680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5" name="Rectangle 9"/>
          <p:cNvSpPr>
            <a:spLocks noGrp="1" noChangeArrowheads="1"/>
          </p:cNvSpPr>
          <p:nvPr>
            <p:ph type="dt"/>
          </p:nvPr>
        </p:nvSpPr>
        <p:spPr bwMode="auto">
          <a:xfrm>
            <a:off x="3854218" y="6"/>
            <a:ext cx="2937171" cy="485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02" tIns="45320" rIns="91002" bIns="45320" numCol="1" anchor="t" anchorCtr="0" compatLnSpc="1">
            <a:prstTxWarp prst="textNoShape">
              <a:avLst/>
            </a:prstTxWarp>
          </a:bodyPr>
          <a:lstStyle>
            <a:lvl1pPr algn="r" defTabSz="452936" eaLnBrk="1" hangingPunct="1">
              <a:buSzPct val="45000"/>
              <a:buFont typeface="Wingdings" pitchFamily="2" charset="2"/>
              <a:buNone/>
              <a:tabLst>
                <a:tab pos="729465" algn="l"/>
                <a:tab pos="1457339" algn="l"/>
                <a:tab pos="218680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en-GB"/>
              <a:t>24/11/09</a:t>
            </a:r>
          </a:p>
        </p:txBody>
      </p:sp>
      <p:sp>
        <p:nvSpPr>
          <p:cNvPr id="15371" name="Rectangle 10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922338" y="746125"/>
            <a:ext cx="4946650" cy="3711575"/>
          </a:xfrm>
          <a:prstGeom prst="rect">
            <a:avLst/>
          </a:prstGeom>
          <a:noFill/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sp>
      <p:sp>
        <p:nvSpPr>
          <p:cNvPr id="4107" name="Rectangle 11"/>
          <p:cNvSpPr>
            <a:spLocks noGrp="1" noChangeArrowheads="1"/>
          </p:cNvSpPr>
          <p:nvPr>
            <p:ph type="body"/>
          </p:nvPr>
        </p:nvSpPr>
        <p:spPr bwMode="auto">
          <a:xfrm>
            <a:off x="681767" y="4718987"/>
            <a:ext cx="5430045" cy="4465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02" tIns="45320" rIns="91002" bIns="453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/>
          </a:p>
        </p:txBody>
      </p:sp>
      <p:sp>
        <p:nvSpPr>
          <p:cNvPr id="4108" name="Rectangle 12"/>
          <p:cNvSpPr>
            <a:spLocks noGrp="1" noChangeArrowheads="1"/>
          </p:cNvSpPr>
          <p:nvPr>
            <p:ph type="ftr"/>
          </p:nvPr>
        </p:nvSpPr>
        <p:spPr bwMode="auto">
          <a:xfrm>
            <a:off x="2" y="9440287"/>
            <a:ext cx="2937171" cy="487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02" tIns="45320" rIns="91002" bIns="45320" numCol="1" anchor="b" anchorCtr="0" compatLnSpc="1">
            <a:prstTxWarp prst="textNoShape">
              <a:avLst/>
            </a:prstTxWarp>
          </a:bodyPr>
          <a:lstStyle>
            <a:lvl1pPr defTabSz="452936" eaLnBrk="1" hangingPunct="1">
              <a:buSzPct val="45000"/>
              <a:buFont typeface="Wingdings" pitchFamily="2" charset="2"/>
              <a:buNone/>
              <a:tabLst>
                <a:tab pos="729465" algn="l"/>
                <a:tab pos="1457339" algn="l"/>
                <a:tab pos="218680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9" name="Rectangle 13"/>
          <p:cNvSpPr>
            <a:spLocks noGrp="1" noChangeArrowheads="1"/>
          </p:cNvSpPr>
          <p:nvPr>
            <p:ph type="sldNum"/>
          </p:nvPr>
        </p:nvSpPr>
        <p:spPr bwMode="auto">
          <a:xfrm>
            <a:off x="3854218" y="9440287"/>
            <a:ext cx="2937171" cy="487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002" tIns="45320" rIns="91002" bIns="45320" numCol="1" anchor="b" anchorCtr="0" compatLnSpc="1">
            <a:prstTxWarp prst="textNoShape">
              <a:avLst/>
            </a:prstTxWarp>
          </a:bodyPr>
          <a:lstStyle>
            <a:lvl1pPr algn="r" defTabSz="452936" eaLnBrk="1" hangingPunct="1">
              <a:buSzPct val="45000"/>
              <a:buFont typeface="Wingdings" pitchFamily="2" charset="2"/>
              <a:buNone/>
              <a:tabLst>
                <a:tab pos="729465" algn="l"/>
                <a:tab pos="1457339" algn="l"/>
                <a:tab pos="218680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7B67CFD2-5CD3-4087-AAF2-586CF909596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12345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0244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51948" indent="-289211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56844" indent="-231369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19582" indent="-231369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82319" indent="-231369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45057" indent="-231369" defTabSz="46273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3007795" indent="-231369" defTabSz="46273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70532" indent="-231369" defTabSz="46273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933270" indent="-231369" defTabSz="46273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</a:pPr>
            <a:fld id="{E0498D70-9D95-41C0-BC10-1B52A369F2EE}" type="slidenum">
              <a:rPr lang="it-IT" altLang="it-IT" smtClean="0">
                <a:latin typeface="Arial" charset="0"/>
              </a:rPr>
              <a:pPr>
                <a:spcBef>
                  <a:spcPct val="0"/>
                </a:spcBef>
              </a:pPr>
              <a:t>1</a:t>
            </a:fld>
            <a:endParaRPr lang="it-IT" altLang="it-IT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009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24/11/09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pPr>
              <a:defRPr/>
            </a:pPr>
            <a:fld id="{7B67CFD2-5CD3-4087-AAF2-586CF9095969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5298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9"/>
          <p:cNvSpPr>
            <a:spLocks noGrp="1" noChangeArrowheads="1"/>
          </p:cNvSpPr>
          <p:nvPr>
            <p:ph type="dt" sz="quarter"/>
          </p:nvPr>
        </p:nvSpPr>
        <p:spPr>
          <a:noFill/>
        </p:spPr>
        <p:txBody>
          <a:bodyPr/>
          <a:lstStyle>
            <a:lvl1pPr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3767" indent="-286064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4257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1960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9663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7366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5069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32772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90475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r>
              <a:rPr lang="en-GB" sz="1200" dirty="0">
                <a:solidFill>
                  <a:srgbClr val="000000"/>
                </a:solidFill>
                <a:latin typeface="Times New Roman" pitchFamily="18" charset="0"/>
              </a:rPr>
              <a:t>24/11/09</a:t>
            </a:r>
          </a:p>
        </p:txBody>
      </p:sp>
      <p:sp>
        <p:nvSpPr>
          <p:cNvPr id="22531" name="Rectangle 13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3767" indent="-286064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4257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1960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9663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7366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5069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32772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90475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fld id="{08194FF6-CC6D-4163-B263-1810E2161FFB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/>
              <a:t>3</a:t>
            </a:fld>
            <a:endParaRPr lang="en-GB" sz="12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25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5700" cy="3724275"/>
          </a:xfrm>
          <a:ln/>
        </p:spPr>
      </p:sp>
      <p:sp>
        <p:nvSpPr>
          <p:cNvPr id="2253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769" y="4718982"/>
            <a:ext cx="5442083" cy="4475257"/>
          </a:xfrm>
          <a:noFill/>
        </p:spPr>
        <p:txBody>
          <a:bodyPr/>
          <a:lstStyle/>
          <a:p>
            <a:pPr defTabSz="915406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5424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9"/>
          <p:cNvSpPr>
            <a:spLocks noGrp="1" noChangeArrowheads="1"/>
          </p:cNvSpPr>
          <p:nvPr>
            <p:ph type="dt" sz="quarter"/>
          </p:nvPr>
        </p:nvSpPr>
        <p:spPr>
          <a:noFill/>
        </p:spPr>
        <p:txBody>
          <a:bodyPr/>
          <a:lstStyle>
            <a:lvl1pPr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3767" indent="-286064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4257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1960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9663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7366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5069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32772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90475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r>
              <a:rPr lang="en-GB" sz="1200" dirty="0">
                <a:solidFill>
                  <a:srgbClr val="000000"/>
                </a:solidFill>
                <a:latin typeface="Times New Roman" pitchFamily="18" charset="0"/>
              </a:rPr>
              <a:t>24/11/09</a:t>
            </a:r>
          </a:p>
        </p:txBody>
      </p:sp>
      <p:sp>
        <p:nvSpPr>
          <p:cNvPr id="22531" name="Rectangle 13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3767" indent="-286064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4257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1960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9663" indent="-228851" defTabSz="452936"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7366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5069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32772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90475" indent="-228851" defTabSz="45293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tabLst>
                <a:tab pos="729465" algn="l"/>
                <a:tab pos="1457339" algn="l"/>
                <a:tab pos="2186803" algn="l"/>
              </a:tabLst>
              <a:defRPr sz="140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fld id="{08194FF6-CC6D-4163-B263-1810E2161FFB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/>
              <a:t>5</a:t>
            </a:fld>
            <a:endParaRPr lang="en-GB" sz="12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25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5700" cy="3724275"/>
          </a:xfrm>
          <a:ln/>
        </p:spPr>
      </p:sp>
      <p:sp>
        <p:nvSpPr>
          <p:cNvPr id="2253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769" y="4718982"/>
            <a:ext cx="5442083" cy="4475257"/>
          </a:xfrm>
          <a:noFill/>
        </p:spPr>
        <p:txBody>
          <a:bodyPr/>
          <a:lstStyle/>
          <a:p>
            <a:pPr defTabSz="915406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3281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599C4-B3DC-4807-9464-1EA33DB1ED0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4640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E0DB90-02C5-49A9-A499-F5FCE26DCA9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0190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1463" y="128588"/>
            <a:ext cx="2054225" cy="5986462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28588"/>
            <a:ext cx="6011863" cy="5986462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9E0E38-7512-4E96-B044-B3F8E964FE3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53579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7485180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xfrm>
            <a:off x="3124200" y="6245225"/>
            <a:ext cx="2884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xfrm>
            <a:off x="6553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19CA8-9946-425E-9F07-4DB47ACFBF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7724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1024" y="242358"/>
            <a:ext cx="7772400" cy="545042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ru-RU"/>
              <a:t>Образец заголовка</a:t>
            </a:r>
            <a:endParaRPr lang="it-IT" dirty="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5" y="787400"/>
            <a:ext cx="6645275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3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fld id="{894469B4-8DAF-45B9-AD47-64FE736B59F3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364110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fld id="{578DC331-1870-4A66-B521-373FFD6CBF8C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5032332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9707" y="385637"/>
            <a:ext cx="8794113" cy="29832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 lang="en-US" dirty="0" smtClean="0"/>
            </a:lvl1pPr>
          </a:lstStyle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302B4B96-F341-448B-9105-627400B4BC5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540392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16" y="1412875"/>
            <a:ext cx="4319954" cy="706563"/>
          </a:xfrm>
          <a:noFill/>
        </p:spPr>
        <p:txBody>
          <a:bodyPr/>
          <a:lstStyle>
            <a:lvl1pPr marL="0" indent="0">
              <a:defRPr sz="918"/>
            </a:lvl1pPr>
            <a:lvl2pPr marL="171224" indent="-171224">
              <a:defRPr sz="918"/>
            </a:lvl2pPr>
            <a:lvl3pPr marL="343964" indent="-172739">
              <a:defRPr sz="918"/>
            </a:lvl3pPr>
            <a:lvl4pPr marL="515186" indent="-171224">
              <a:defRPr sz="918"/>
            </a:lvl4pPr>
            <a:lvl5pPr marL="687925" indent="-172739">
              <a:defRPr sz="918"/>
            </a:lvl5pPr>
            <a:lvl6pPr>
              <a:defRPr sz="1735"/>
            </a:lvl6pPr>
            <a:lvl7pPr>
              <a:defRPr sz="1735"/>
            </a:lvl7pPr>
            <a:lvl8pPr>
              <a:defRPr sz="1735"/>
            </a:lvl8pPr>
            <a:lvl9pPr>
              <a:defRPr sz="1735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18697" y="158751"/>
            <a:ext cx="3168161" cy="153987"/>
          </a:xfrm>
        </p:spPr>
        <p:txBody>
          <a:bodyPr lIns="0" tIns="0" rIns="0" bIns="0">
            <a:noAutofit/>
          </a:bodyPr>
          <a:lstStyle>
            <a:lvl1pPr algn="l">
              <a:defRPr sz="918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3"/>
          </p:nvPr>
        </p:nvSpPr>
        <p:spPr>
          <a:xfrm>
            <a:off x="4706816" y="3898900"/>
            <a:ext cx="4319954" cy="706563"/>
          </a:xfrm>
          <a:noFill/>
        </p:spPr>
        <p:txBody>
          <a:bodyPr/>
          <a:lstStyle>
            <a:lvl1pPr marL="0" indent="0">
              <a:defRPr sz="918"/>
            </a:lvl1pPr>
            <a:lvl2pPr marL="171224" indent="-171224">
              <a:defRPr sz="918"/>
            </a:lvl2pPr>
            <a:lvl3pPr marL="343964" indent="-172739">
              <a:defRPr sz="918"/>
            </a:lvl3pPr>
            <a:lvl4pPr marL="515186" indent="-171224">
              <a:defRPr sz="918"/>
            </a:lvl4pPr>
            <a:lvl5pPr marL="687925" indent="-172739">
              <a:defRPr sz="918"/>
            </a:lvl5pPr>
            <a:lvl6pPr>
              <a:defRPr sz="1735"/>
            </a:lvl6pPr>
            <a:lvl7pPr>
              <a:defRPr sz="1735"/>
            </a:lvl7pPr>
            <a:lvl8pPr>
              <a:defRPr sz="1735"/>
            </a:lvl8pPr>
            <a:lvl9pPr>
              <a:defRPr sz="1735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15764" y="312737"/>
            <a:ext cx="8909539" cy="1027112"/>
          </a:xfrm>
        </p:spPr>
        <p:txBody>
          <a:bodyPr lIns="0" tIns="0" rIns="0" bIns="0" anchor="ctr">
            <a:noAutofit/>
          </a:bodyPr>
          <a:lstStyle>
            <a:lvl1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454915" algn="l"/>
              </a:tabLst>
              <a:defRPr sz="1939" b="0" i="0">
                <a:solidFill>
                  <a:schemeClr val="accent3"/>
                </a:solidFill>
                <a:latin typeface="Times New Roman"/>
              </a:defRPr>
            </a:lvl1pPr>
            <a:lvl2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454915" algn="l"/>
              </a:tabLst>
              <a:defRPr sz="1939" b="0" i="0">
                <a:solidFill>
                  <a:srgbClr val="6666FF"/>
                </a:solidFill>
                <a:latin typeface="Times New Roman"/>
              </a:defRPr>
            </a:lvl2pPr>
            <a:lvl3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454915" algn="l"/>
              </a:tabLst>
              <a:defRPr sz="1939" b="0" i="0">
                <a:solidFill>
                  <a:srgbClr val="6666FF"/>
                </a:solidFill>
                <a:latin typeface="Times New Roman"/>
              </a:defRPr>
            </a:lvl3pPr>
            <a:lvl4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454915" algn="l"/>
              </a:tabLst>
              <a:defRPr sz="1939" b="0" i="0">
                <a:solidFill>
                  <a:srgbClr val="6666FF"/>
                </a:solidFill>
                <a:latin typeface="Times New Roman"/>
              </a:defRPr>
            </a:lvl4pPr>
            <a:lvl5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454915" algn="l"/>
              </a:tabLst>
              <a:defRPr sz="1939" b="0" i="0">
                <a:solidFill>
                  <a:srgbClr val="6666FF"/>
                </a:solidFill>
                <a:latin typeface="Times New Roman"/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4300" y="1412876"/>
            <a:ext cx="4325816" cy="706563"/>
          </a:xfrm>
        </p:spPr>
        <p:txBody>
          <a:bodyPr/>
          <a:lstStyle>
            <a:lvl1pPr>
              <a:defRPr sz="918"/>
            </a:lvl1pPr>
            <a:lvl2pPr>
              <a:defRPr sz="918"/>
            </a:lvl2pPr>
            <a:lvl3pPr>
              <a:defRPr sz="918"/>
            </a:lvl3pPr>
            <a:lvl4pPr>
              <a:defRPr sz="918"/>
            </a:lvl4pPr>
            <a:lvl5pPr>
              <a:defRPr sz="918"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GB" noProof="0" dirty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AEE0876E-EB95-43E2-97CA-7F85C062B364}" type="slidenum">
              <a:rPr lang="en-GB" altLang="ru-RU"/>
              <a:pPr/>
              <a:t>‹#›</a:t>
            </a:fld>
            <a:endParaRPr lang="en-GB" altLang="ru-RU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79773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xfrm>
            <a:off x="3124200" y="6245225"/>
            <a:ext cx="2884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xfrm>
            <a:off x="6553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19CA8-9946-425E-9F07-4DB47ACFBF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7724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4625"/>
            <a:ext cx="8218488" cy="13398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850" y="836613"/>
            <a:ext cx="8218488" cy="4514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xfrm>
            <a:off x="3376613" y="6453188"/>
            <a:ext cx="2120900" cy="4651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FE6545-0CF4-4899-9042-5CE7837FD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561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CDF9C9-8AFC-4C89-A00C-6A4108AC10E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52626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103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3891063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10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4625"/>
            <a:ext cx="8218488" cy="13398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850" y="836613"/>
            <a:ext cx="8218488" cy="4514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xfrm>
            <a:off x="3376613" y="6453188"/>
            <a:ext cx="2120900" cy="4651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FE6545-0CF4-4899-9042-5CE7837FD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561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xfrm>
            <a:off x="3124200" y="6245225"/>
            <a:ext cx="2884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xfrm>
            <a:off x="6553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19CA8-9946-425E-9F07-4DB47ACFBF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7724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1024" y="242358"/>
            <a:ext cx="7772400" cy="545042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ru-RU"/>
              <a:t>Образец заголовка</a:t>
            </a:r>
            <a:endParaRPr lang="it-IT" dirty="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5" y="787400"/>
            <a:ext cx="6645275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Segnaposto numero diapositiva 5">
            <a:extLst/>
          </p:cNvPr>
          <p:cNvSpPr>
            <a:spLocks noGrp="1"/>
          </p:cNvSpPr>
          <p:nvPr>
            <p:ph type="sldNum" sz="quarter" idx="13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E5CA82D5-2524-40F9-89AA-11AAE2DD905B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5858396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>
            <a:extLst/>
          </p:cNvPr>
          <p:cNvSpPr>
            <a:spLocks noGrp="1"/>
          </p:cNvSpPr>
          <p:nvPr>
            <p:ph type="sldNum" sz="quarter" idx="10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5B342B19-406E-48D3-B52E-1C54837F105B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024543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103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4625"/>
            <a:ext cx="8218488" cy="13398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850" y="836613"/>
            <a:ext cx="8218488" cy="4514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xfrm>
            <a:off x="3376613" y="6453188"/>
            <a:ext cx="2120900" cy="4651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FE6545-0CF4-4899-9042-5CE7837FD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5618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xfrm>
            <a:off x="3124200" y="6245225"/>
            <a:ext cx="2884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xfrm>
            <a:off x="6553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19CA8-9946-425E-9F07-4DB47ACFBF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772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EE5E19-E0CA-4E05-BC3D-BCAEE04018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9039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1024" y="242358"/>
            <a:ext cx="7772400" cy="545042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ru-RU"/>
              <a:t>Образец заголовка</a:t>
            </a:r>
            <a:endParaRPr lang="it-IT" dirty="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5" y="787400"/>
            <a:ext cx="6645275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Segnaposto numero diapositiva 5">
            <a:extLst/>
          </p:cNvPr>
          <p:cNvSpPr>
            <a:spLocks noGrp="1"/>
          </p:cNvSpPr>
          <p:nvPr>
            <p:ph type="sldNum" sz="quarter" idx="13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348D2C39-4794-49D3-BB08-2D1CE4EF582D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4122958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>
            <a:extLst/>
          </p:cNvPr>
          <p:cNvSpPr>
            <a:spLocks noGrp="1"/>
          </p:cNvSpPr>
          <p:nvPr>
            <p:ph type="sldNum" sz="quarter" idx="10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844242B1-D3FD-43DF-BF3B-2B1679ABE374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3649735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103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4625"/>
            <a:ext cx="8218488" cy="13398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850" y="836613"/>
            <a:ext cx="8218488" cy="4514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xfrm>
            <a:off x="3376613" y="6453188"/>
            <a:ext cx="2120900" cy="4651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FE6545-0CF4-4899-9042-5CE7837FD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5618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xfrm>
            <a:off x="3124200" y="6245225"/>
            <a:ext cx="2884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xfrm>
            <a:off x="6553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19CA8-9946-425E-9F07-4DB47ACFBF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7724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3300110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103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4625"/>
            <a:ext cx="8218488" cy="13398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850" y="836613"/>
            <a:ext cx="8218488" cy="4514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xfrm>
            <a:off x="3376613" y="6453188"/>
            <a:ext cx="2120900" cy="4651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FE6545-0CF4-4899-9042-5CE7837FD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5618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xfrm>
            <a:off x="3124200" y="6245225"/>
            <a:ext cx="2884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xfrm>
            <a:off x="6553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19CA8-9946-425E-9F07-4DB47ACFBF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772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1024" y="242358"/>
            <a:ext cx="7772400" cy="545042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ru-RU"/>
              <a:t>Образец заголовка</a:t>
            </a:r>
            <a:endParaRPr lang="it-IT" dirty="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5" y="787400"/>
            <a:ext cx="6645275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Segnaposto numero diapositiva 5">
            <a:extLst/>
          </p:cNvPr>
          <p:cNvSpPr>
            <a:spLocks noGrp="1"/>
          </p:cNvSpPr>
          <p:nvPr>
            <p:ph type="sldNum" sz="quarter" idx="13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958EACAD-80F1-485E-A063-27CD2CB44D72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84294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2250" cy="4514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1850" y="1600200"/>
            <a:ext cx="4033838" cy="4514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38B6B2-4BF4-407E-8165-F9B12C25EFE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73676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>
            <a:extLst/>
          </p:cNvPr>
          <p:cNvSpPr>
            <a:spLocks noGrp="1"/>
          </p:cNvSpPr>
          <p:nvPr>
            <p:ph type="sldNum" sz="quarter" idx="10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C1A4D20A-705D-4B65-B8A7-B8542BFD5DD4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6199083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103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4625"/>
            <a:ext cx="8218488" cy="13398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850" y="836613"/>
            <a:ext cx="8218488" cy="4514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xfrm>
            <a:off x="3376613" y="6453188"/>
            <a:ext cx="2120900" cy="4651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FE6545-0CF4-4899-9042-5CE7837FD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5618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xfrm>
            <a:off x="3124200" y="6245225"/>
            <a:ext cx="2884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xfrm>
            <a:off x="6553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19CA8-9946-425E-9F07-4DB47ACFBF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7724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1024" y="242358"/>
            <a:ext cx="7772400" cy="545042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rgbClr val="EC6400"/>
                </a:solidFill>
                <a:latin typeface="Arial"/>
                <a:cs typeface="Arial"/>
              </a:defRPr>
            </a:lvl1pPr>
          </a:lstStyle>
          <a:p>
            <a:r>
              <a:rPr lang="ru-RU"/>
              <a:t>Образец заголовка</a:t>
            </a:r>
            <a:endParaRPr lang="it-IT" dirty="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11125" y="787400"/>
            <a:ext cx="6645275" cy="749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Segnaposto numero diapositiva 5">
            <a:extLst/>
          </p:cNvPr>
          <p:cNvSpPr>
            <a:spLocks noGrp="1"/>
          </p:cNvSpPr>
          <p:nvPr>
            <p:ph type="sldNum" sz="quarter" idx="13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5DFAA53F-A040-42BA-B2E9-06D8913C7869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71767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5">
            <a:extLst/>
          </p:cNvPr>
          <p:cNvSpPr>
            <a:spLocks noGrp="1"/>
          </p:cNvSpPr>
          <p:nvPr>
            <p:ph type="sldNum" sz="quarter" idx="10"/>
          </p:nvPr>
        </p:nvSpPr>
        <p:spPr>
          <a:xfrm>
            <a:off x="85598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EC6400"/>
                </a:solidFill>
              </a:defRPr>
            </a:lvl1pPr>
          </a:lstStyle>
          <a:p>
            <a:pPr>
              <a:defRPr/>
            </a:pPr>
            <a:fld id="{DE5B90BF-DDF2-4ABE-9E5A-4E7EA9B730F1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6518818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103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4625"/>
            <a:ext cx="8218488" cy="13398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850" y="836613"/>
            <a:ext cx="8218488" cy="4514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xfrm>
            <a:off x="3376613" y="6453188"/>
            <a:ext cx="2120900" cy="4651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FE6545-0CF4-4899-9042-5CE7837FD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5618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xfrm>
            <a:off x="3124200" y="6245225"/>
            <a:ext cx="2884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xfrm>
            <a:off x="6553200" y="6245225"/>
            <a:ext cx="2122488" cy="4651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19CA8-9946-425E-9F07-4DB47ACFBF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772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346126-9C83-4842-9B8C-3D4DE693BA5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550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E48D77-4C2E-4C62-A3CD-09D565909D1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3541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516FD1-9E19-40CB-A506-D3F71CAA5E5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7765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07419E-2FB4-4419-90F7-1E69BB675E7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1816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2B31D7-FACD-446E-8A6C-1B88B0BF11F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48019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28588"/>
            <a:ext cx="8218488" cy="1433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Для правки текста заголовка щелкните мышью</a:t>
            </a:r>
          </a:p>
        </p:txBody>
      </p:sp>
      <p:sp>
        <p:nvSpPr>
          <p:cNvPr id="205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18488" cy="451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Для правки структуры щелкните мышью</a:t>
            </a:r>
          </a:p>
          <a:p>
            <a:pPr lvl="1"/>
            <a:r>
              <a:rPr lang="en-GB"/>
              <a:t>Второй уровень структуры</a:t>
            </a:r>
          </a:p>
          <a:p>
            <a:pPr lvl="2"/>
            <a:r>
              <a:rPr lang="en-GB"/>
              <a:t>Третий уровень структуры</a:t>
            </a:r>
          </a:p>
          <a:p>
            <a:pPr lvl="3"/>
            <a:r>
              <a:rPr lang="en-GB"/>
              <a:t>Четвертый уровень структуры</a:t>
            </a:r>
          </a:p>
          <a:p>
            <a:pPr lvl="4"/>
            <a:r>
              <a:rPr lang="en-GB"/>
              <a:t>Пятый уровень структуры</a:t>
            </a:r>
          </a:p>
          <a:p>
            <a:pPr lvl="4"/>
            <a:r>
              <a:rPr lang="en-GB"/>
              <a:t>Шестой уровень структуры</a:t>
            </a:r>
          </a:p>
          <a:p>
            <a:pPr lvl="4"/>
            <a:r>
              <a:rPr lang="en-GB"/>
              <a:t>Седьмой уровень структуры</a:t>
            </a:r>
          </a:p>
          <a:p>
            <a:pPr lvl="4"/>
            <a:r>
              <a:rPr lang="en-GB"/>
              <a:t>Восьмой уровень структуры</a:t>
            </a:r>
          </a:p>
          <a:p>
            <a:pPr lvl="4"/>
            <a:r>
              <a:rPr lang="en-GB"/>
              <a:t>Девятый уровень структуры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245225"/>
            <a:ext cx="2122488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eaLnBrk="1">
              <a:buSzPct val="45000"/>
              <a:buFont typeface="Wingdings" pitchFamily="2" charset="2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3124200" y="6245225"/>
            <a:ext cx="2884488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ctr" eaLnBrk="1">
              <a:buSzPct val="45000"/>
              <a:buFont typeface="Wingdings" pitchFamily="2" charset="2"/>
              <a:buNone/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245225"/>
            <a:ext cx="2122488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r" eaLnBrk="1">
              <a:buSzPct val="45000"/>
              <a:buFont typeface="Wingdings" pitchFamily="2" charset="2"/>
              <a:buNone/>
              <a:tabLst>
                <a:tab pos="723900" algn="l"/>
                <a:tab pos="1447800" algn="l"/>
              </a:tabLst>
              <a:defRPr sz="2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C08DFFA2-537D-455D-84EF-409625D4A80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200" algn="ctr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400" algn="ctr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600" algn="ctr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800" algn="ctr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331788" indent="-331788" algn="l" defTabSz="449263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Arial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31838" indent="-274638" algn="l" defTabSz="449263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Arial" charset="0"/>
        <a:buChar char="–"/>
        <a:defRPr sz="28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49263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Arial" charset="0"/>
        <a:buChar char="•"/>
        <a:defRPr sz="24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–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49263" rtl="0" fontAlgn="base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49263" rtl="0" fontAlgn="base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49263" rtl="0" fontAlgn="base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49263" rtl="0" fontAlgn="base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igura a mano libera 3"/>
          <p:cNvSpPr/>
          <p:nvPr/>
        </p:nvSpPr>
        <p:spPr>
          <a:xfrm rot="21015509" flipH="1" flipV="1">
            <a:off x="2308225" y="6278563"/>
            <a:ext cx="6797675" cy="116998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1027" name="Immagine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1650" y="6323013"/>
            <a:ext cx="1817688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igura a mano libera 3">
            <a:extLst/>
          </p:cNvPr>
          <p:cNvSpPr/>
          <p:nvPr/>
        </p:nvSpPr>
        <p:spPr>
          <a:xfrm rot="21015509" flipH="1" flipV="1">
            <a:off x="2308225" y="6278563"/>
            <a:ext cx="6797675" cy="116998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1027" name="Immagin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288" y="6369050"/>
            <a:ext cx="1924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8" r:id="rId3"/>
    <p:sldLayoutId id="2147483719" r:id="rId4"/>
    <p:sldLayoutId id="2147483720" r:id="rId5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igura a mano libera 3">
            <a:extLst/>
          </p:cNvPr>
          <p:cNvSpPr/>
          <p:nvPr/>
        </p:nvSpPr>
        <p:spPr>
          <a:xfrm rot="21015509" flipH="1" flipV="1">
            <a:off x="2308225" y="6278563"/>
            <a:ext cx="6797675" cy="116998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2051" name="Immagin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288" y="6369050"/>
            <a:ext cx="1924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21" r:id="rId3"/>
    <p:sldLayoutId id="2147483722" r:id="rId4"/>
    <p:sldLayoutId id="2147483723" r:id="rId5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igura a mano libera 3">
            <a:extLst/>
          </p:cNvPr>
          <p:cNvSpPr/>
          <p:nvPr/>
        </p:nvSpPr>
        <p:spPr>
          <a:xfrm rot="21015509" flipH="1" flipV="1">
            <a:off x="2308225" y="6278563"/>
            <a:ext cx="6797675" cy="116998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1027" name="Immagin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288" y="6369050"/>
            <a:ext cx="1924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8" r:id="rId3"/>
    <p:sldLayoutId id="2147483739" r:id="rId4"/>
    <p:sldLayoutId id="2147483740" r:id="rId5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igura a mano libera 3">
            <a:extLst/>
          </p:cNvPr>
          <p:cNvSpPr/>
          <p:nvPr/>
        </p:nvSpPr>
        <p:spPr>
          <a:xfrm rot="21015509" flipH="1" flipV="1">
            <a:off x="2308225" y="6278563"/>
            <a:ext cx="6797675" cy="1169987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2051" name="Immagin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288" y="6369050"/>
            <a:ext cx="1924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7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w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>
            <a:extLst/>
          </p:cNvPr>
          <p:cNvSpPr txBox="1">
            <a:spLocks/>
          </p:cNvSpPr>
          <p:nvPr/>
        </p:nvSpPr>
        <p:spPr>
          <a:xfrm>
            <a:off x="1131701" y="2996952"/>
            <a:ext cx="7904795" cy="1280677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uk-UA" sz="3200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ЗВІТ</a:t>
            </a:r>
          </a:p>
          <a:p>
            <a:r>
              <a:rPr lang="uk-UA" sz="3200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про винагороду членів</a:t>
            </a:r>
          </a:p>
          <a:p>
            <a:r>
              <a:rPr lang="uk-UA" sz="3200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Наглядової Ради АТ "ПРАВЕКС БАНК" за 2021 рік</a:t>
            </a:r>
            <a:endParaRPr lang="uk-UA" sz="3200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Figura a mano libera 5">
            <a:extLst/>
          </p:cNvPr>
          <p:cNvSpPr/>
          <p:nvPr/>
        </p:nvSpPr>
        <p:spPr>
          <a:xfrm rot="21015509">
            <a:off x="47625" y="-774700"/>
            <a:ext cx="9012238" cy="1549400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769" h="1758889">
                <a:moveTo>
                  <a:pt x="17758" y="0"/>
                </a:moveTo>
                <a:lnTo>
                  <a:pt x="9037769" y="1751652"/>
                </a:lnTo>
                <a:lnTo>
                  <a:pt x="8974352" y="1758889"/>
                </a:lnTo>
                <a:lnTo>
                  <a:pt x="0" y="1757425"/>
                </a:lnTo>
                <a:lnTo>
                  <a:pt x="17758" y="0"/>
                </a:lnTo>
                <a:close/>
              </a:path>
            </a:pathLst>
          </a:custGeom>
          <a:solidFill>
            <a:srgbClr val="EC6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sp>
        <p:nvSpPr>
          <p:cNvPr id="8" name="Titolo 1">
            <a:extLst/>
          </p:cNvPr>
          <p:cNvSpPr txBox="1">
            <a:spLocks/>
          </p:cNvSpPr>
          <p:nvPr/>
        </p:nvSpPr>
        <p:spPr>
          <a:xfrm>
            <a:off x="611560" y="5445224"/>
            <a:ext cx="7272808" cy="792088"/>
          </a:xfrm>
          <a:prstGeom prst="rect">
            <a:avLst/>
          </a:prstGeom>
        </p:spPr>
        <p:txBody>
          <a:bodyPr lIns="0" tIns="0" rIns="0" bIns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uk-UA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Наглядова Рада</a:t>
            </a:r>
            <a:r>
              <a:rPr lang="en-US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                            </a:t>
            </a:r>
            <a:r>
              <a:rPr lang="uk-UA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30 березня</a:t>
            </a:r>
            <a:r>
              <a:rPr lang="en-US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2022</a:t>
            </a:r>
            <a:r>
              <a:rPr lang="uk-UA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року</a:t>
            </a:r>
            <a:endParaRPr 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7173" name="Immagin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0361" y="2060341"/>
            <a:ext cx="4443413" cy="83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4479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96924" y="87313"/>
            <a:ext cx="8218488" cy="374650"/>
          </a:xfrm>
        </p:spPr>
        <p:txBody>
          <a:bodyPr/>
          <a:lstStyle/>
          <a:p>
            <a:pPr algn="just"/>
            <a:r>
              <a:rPr lang="uk-UA" sz="1600" b="1" dirty="0" smtClean="0">
                <a:solidFill>
                  <a:srgbClr val="EC6400"/>
                </a:solidFill>
                <a:latin typeface="Century Gothic" panose="020B0502020202020204" pitchFamily="34" charset="0"/>
                <a:cs typeface="Arial"/>
              </a:rPr>
              <a:t>Склад Наглядової Ради</a:t>
            </a:r>
            <a:endParaRPr lang="ru-UA" sz="3600" b="1" dirty="0">
              <a:solidFill>
                <a:srgbClr val="EC6400"/>
              </a:solidFill>
              <a:latin typeface="Century Gothic" panose="020B0502020202020204" pitchFamily="34" charset="0"/>
              <a:ea typeface="+mj-ea"/>
              <a:cs typeface="Arial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>
          <a:xfrm>
            <a:off x="296924" y="461963"/>
            <a:ext cx="8550151" cy="4356484"/>
          </a:xfrm>
        </p:spPr>
        <p:txBody>
          <a:bodyPr/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uk-UA" sz="1100" b="1" dirty="0" smtClean="0">
                <a:latin typeface="Century Gothic" panose="020B0502020202020204" pitchFamily="34" charset="0"/>
              </a:rPr>
              <a:t>Наглядова Рада АТ «ПРАВЕКС БАНК» </a:t>
            </a:r>
            <a:r>
              <a:rPr lang="uk-UA" sz="1100" dirty="0" smtClean="0">
                <a:latin typeface="Century Gothic" panose="020B0502020202020204" pitchFamily="34" charset="0"/>
              </a:rPr>
              <a:t>є колегіальним органом, що здійснює контроль за діяльністю</a:t>
            </a:r>
            <a:r>
              <a:rPr lang="en-US" sz="1100" dirty="0" smtClean="0">
                <a:latin typeface="Century Gothic" panose="020B0502020202020204" pitchFamily="34" charset="0"/>
              </a:rPr>
              <a:t> </a:t>
            </a:r>
            <a:r>
              <a:rPr lang="uk-UA" sz="1100" dirty="0" smtClean="0">
                <a:latin typeface="Century Gothic" panose="020B0502020202020204" pitchFamily="34" charset="0"/>
              </a:rPr>
              <a:t>Правління Банку, здійснює захист прав вкладників, а також інших кредиторів та акціонерів АТ «ПРАВЕКС БАНК» (далі – «Банк»).      </a:t>
            </a:r>
          </a:p>
          <a:p>
            <a:pPr marL="0" indent="0" algn="just">
              <a:buNone/>
            </a:pPr>
            <a:endParaRPr lang="en-US" sz="1100" dirty="0">
              <a:latin typeface="Century Gothic" panose="020B0502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uk-UA" sz="1100" dirty="0" smtClean="0">
                <a:latin typeface="Century Gothic" panose="020B0502020202020204" pitchFamily="34" charset="0"/>
              </a:rPr>
              <a:t>Кількісний склад Наглядової </a:t>
            </a:r>
            <a:r>
              <a:rPr lang="uk-UA" sz="1100" dirty="0">
                <a:latin typeface="Century Gothic" panose="020B0502020202020204" pitchFamily="34" charset="0"/>
              </a:rPr>
              <a:t>Р</a:t>
            </a:r>
            <a:r>
              <a:rPr lang="uk-UA" sz="1100" dirty="0" smtClean="0">
                <a:latin typeface="Century Gothic" panose="020B0502020202020204" pitchFamily="34" charset="0"/>
              </a:rPr>
              <a:t>ади відповідає вимогам статті 39 Закону України «Про банки </a:t>
            </a:r>
            <a:r>
              <a:rPr lang="uk-UA" sz="1100" dirty="0">
                <a:latin typeface="Century Gothic" panose="020B0502020202020204" pitchFamily="34" charset="0"/>
              </a:rPr>
              <a:t>і</a:t>
            </a:r>
            <a:r>
              <a:rPr lang="uk-UA" sz="1100" dirty="0" smtClean="0">
                <a:latin typeface="Century Gothic" panose="020B0502020202020204" pitchFamily="34" charset="0"/>
              </a:rPr>
              <a:t> банківську діяльність» та пункту 7.3.3. Статуту Банку. </a:t>
            </a:r>
            <a:r>
              <a:rPr lang="uk-UA" sz="1100" b="1" dirty="0" smtClean="0">
                <a:latin typeface="Century Gothic" panose="020B0502020202020204" pitchFamily="34" charset="0"/>
              </a:rPr>
              <a:t>Наглядова Рада </a:t>
            </a:r>
            <a:r>
              <a:rPr lang="uk-UA" sz="1100" dirty="0" smtClean="0">
                <a:latin typeface="Century Gothic" panose="020B0502020202020204" pitchFamily="34" charset="0"/>
              </a:rPr>
              <a:t>АТ «ПРАВЕКС БАНК» («Банк») </a:t>
            </a:r>
            <a:r>
              <a:rPr lang="uk-UA" sz="1100" b="1" dirty="0" smtClean="0">
                <a:latin typeface="Century Gothic" panose="020B0502020202020204" pitchFamily="34" charset="0"/>
              </a:rPr>
              <a:t>складається із семи членів, три з яких відповідають критеріям, щоб вважатись «незалежними членами»</a:t>
            </a:r>
            <a:r>
              <a:rPr lang="en-US" sz="1100" dirty="0" smtClean="0">
                <a:latin typeface="Century Gothic" panose="020B0502020202020204" pitchFamily="34" charset="0"/>
              </a:rPr>
              <a:t>. </a:t>
            </a:r>
            <a:endParaRPr lang="uk-UA" sz="1100" dirty="0" smtClean="0">
              <a:latin typeface="Century Gothic" panose="020B0502020202020204" pitchFamily="34" charset="0"/>
            </a:endParaRPr>
          </a:p>
          <a:p>
            <a:pPr marL="0" indent="0" algn="just">
              <a:buNone/>
            </a:pPr>
            <a:endParaRPr lang="en-US" sz="1100" b="1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uk-UA" sz="1100" b="1" dirty="0" smtClean="0">
                <a:latin typeface="Century Gothic" panose="020B0502020202020204" pitchFamily="34" charset="0"/>
              </a:rPr>
              <a:t>Станом на 31 грудня 2021 року Наглядова Рада Банку складається з 6 осіб, а саме</a:t>
            </a:r>
            <a:r>
              <a:rPr lang="uk-UA" sz="1100" dirty="0" smtClean="0">
                <a:latin typeface="Century Gothic" panose="020B0502020202020204" pitchFamily="34" charset="0"/>
              </a:rPr>
              <a:t>:</a:t>
            </a:r>
          </a:p>
          <a:p>
            <a:pPr marL="0" indent="0">
              <a:buNone/>
            </a:pPr>
            <a:endParaRPr lang="uk-UA" sz="1100" dirty="0" smtClean="0">
              <a:latin typeface="Century Gothic" panose="020B0502020202020204" pitchFamily="34" charset="0"/>
            </a:endParaRPr>
          </a:p>
          <a:p>
            <a:pPr lvl="0"/>
            <a:r>
              <a:rPr lang="uk-UA" sz="1100" dirty="0" smtClean="0">
                <a:latin typeface="Century Gothic" panose="020B0502020202020204" pitchFamily="34" charset="0"/>
              </a:rPr>
              <a:t>п. </a:t>
            </a:r>
            <a:r>
              <a:rPr lang="uk-UA" sz="1100" dirty="0" err="1" smtClean="0">
                <a:latin typeface="Century Gothic" panose="020B0502020202020204" pitchFamily="34" charset="0"/>
              </a:rPr>
              <a:t>Еціо</a:t>
            </a:r>
            <a:r>
              <a:rPr lang="uk-UA" sz="1100" dirty="0" smtClean="0">
                <a:latin typeface="Century Gothic" panose="020B0502020202020204" pitchFamily="34" charset="0"/>
              </a:rPr>
              <a:t> </a:t>
            </a:r>
            <a:r>
              <a:rPr lang="uk-UA" sz="1100" dirty="0" err="1" smtClean="0">
                <a:latin typeface="Century Gothic" panose="020B0502020202020204" pitchFamily="34" charset="0"/>
              </a:rPr>
              <a:t>Салваї</a:t>
            </a:r>
            <a:r>
              <a:rPr lang="uk-UA" sz="1100" dirty="0" smtClean="0">
                <a:latin typeface="Century Gothic" panose="020B0502020202020204" pitchFamily="34" charset="0"/>
              </a:rPr>
              <a:t>, Голова Наглядової Ради,</a:t>
            </a:r>
          </a:p>
          <a:p>
            <a:pPr lvl="0"/>
            <a:r>
              <a:rPr lang="uk-UA" sz="1100" dirty="0" smtClean="0">
                <a:latin typeface="Century Gothic" panose="020B0502020202020204" pitchFamily="34" charset="0"/>
              </a:rPr>
              <a:t>п. </a:t>
            </a:r>
            <a:r>
              <a:rPr lang="uk-UA" sz="1100" dirty="0" err="1" smtClean="0">
                <a:latin typeface="Century Gothic" panose="020B0502020202020204" pitchFamily="34" charset="0"/>
              </a:rPr>
              <a:t>Коррадо</a:t>
            </a:r>
            <a:r>
              <a:rPr lang="uk-UA" sz="1100" dirty="0" smtClean="0">
                <a:latin typeface="Century Gothic" panose="020B0502020202020204" pitchFamily="34" charset="0"/>
              </a:rPr>
              <a:t> </a:t>
            </a:r>
            <a:r>
              <a:rPr lang="uk-UA" sz="1100" dirty="0" err="1" smtClean="0">
                <a:latin typeface="Century Gothic" panose="020B0502020202020204" pitchFamily="34" charset="0"/>
              </a:rPr>
              <a:t>Казаліно</a:t>
            </a:r>
            <a:r>
              <a:rPr lang="uk-UA" sz="1100" dirty="0" smtClean="0">
                <a:latin typeface="Century Gothic" panose="020B0502020202020204" pitchFamily="34" charset="0"/>
              </a:rPr>
              <a:t>, заступник Голови Наглядової Ради, незалежний член,</a:t>
            </a:r>
          </a:p>
          <a:p>
            <a:pPr lvl="0"/>
            <a:r>
              <a:rPr lang="uk-UA" sz="1100" dirty="0" smtClean="0">
                <a:latin typeface="Century Gothic" panose="020B0502020202020204" pitchFamily="34" charset="0"/>
              </a:rPr>
              <a:t>п. </a:t>
            </a:r>
            <a:r>
              <a:rPr lang="uk-UA" sz="1100" dirty="0" err="1" smtClean="0">
                <a:latin typeface="Century Gothic" panose="020B0502020202020204" pitchFamily="34" charset="0"/>
              </a:rPr>
              <a:t>Фабріціо</a:t>
            </a:r>
            <a:r>
              <a:rPr lang="uk-UA" sz="1100" dirty="0" smtClean="0">
                <a:latin typeface="Century Gothic" panose="020B0502020202020204" pitchFamily="34" charset="0"/>
              </a:rPr>
              <a:t> </a:t>
            </a:r>
            <a:r>
              <a:rPr lang="uk-UA" sz="1100" dirty="0" err="1" smtClean="0">
                <a:latin typeface="Century Gothic" panose="020B0502020202020204" pitchFamily="34" charset="0"/>
              </a:rPr>
              <a:t>Маллен</a:t>
            </a:r>
            <a:r>
              <a:rPr lang="uk-UA" sz="1100" dirty="0" smtClean="0">
                <a:latin typeface="Century Gothic" panose="020B0502020202020204" pitchFamily="34" charset="0"/>
              </a:rPr>
              <a:t>, незалежний член, </a:t>
            </a:r>
          </a:p>
          <a:p>
            <a:pPr lvl="0"/>
            <a:r>
              <a:rPr lang="uk-UA" sz="1100" dirty="0" smtClean="0">
                <a:latin typeface="Century Gothic" panose="020B0502020202020204" pitchFamily="34" charset="0"/>
              </a:rPr>
              <a:t>п. Лаура </a:t>
            </a:r>
            <a:r>
              <a:rPr lang="uk-UA" sz="1100" dirty="0" err="1" smtClean="0">
                <a:latin typeface="Century Gothic" panose="020B0502020202020204" pitchFamily="34" charset="0"/>
              </a:rPr>
              <a:t>Феббраро</a:t>
            </a:r>
            <a:r>
              <a:rPr lang="uk-UA" sz="1100" dirty="0" smtClean="0">
                <a:latin typeface="Century Gothic" panose="020B0502020202020204" pitchFamily="34" charset="0"/>
              </a:rPr>
              <a:t>, незалежний член, </a:t>
            </a:r>
          </a:p>
          <a:p>
            <a:pPr lvl="0"/>
            <a:r>
              <a:rPr lang="uk-UA" sz="1100" dirty="0" smtClean="0">
                <a:latin typeface="Century Gothic" panose="020B0502020202020204" pitchFamily="34" charset="0"/>
              </a:rPr>
              <a:t>п. </a:t>
            </a:r>
            <a:r>
              <a:rPr lang="uk-UA" sz="1100" dirty="0" err="1" smtClean="0">
                <a:latin typeface="Century Gothic" panose="020B0502020202020204" pitchFamily="34" charset="0"/>
              </a:rPr>
              <a:t>Андреа</a:t>
            </a:r>
            <a:r>
              <a:rPr lang="uk-UA" sz="1100" dirty="0" smtClean="0">
                <a:latin typeface="Century Gothic" panose="020B0502020202020204" pitchFamily="34" charset="0"/>
              </a:rPr>
              <a:t> </a:t>
            </a:r>
            <a:r>
              <a:rPr lang="uk-UA" sz="1100" dirty="0" err="1" smtClean="0">
                <a:latin typeface="Century Gothic" panose="020B0502020202020204" pitchFamily="34" charset="0"/>
              </a:rPr>
              <a:t>Фаццоларі</a:t>
            </a:r>
            <a:r>
              <a:rPr lang="uk-UA" sz="1100" dirty="0" smtClean="0">
                <a:latin typeface="Century Gothic" panose="020B0502020202020204" pitchFamily="34" charset="0"/>
              </a:rPr>
              <a:t>, представник акціонера,</a:t>
            </a:r>
          </a:p>
          <a:p>
            <a:pPr lvl="0"/>
            <a:r>
              <a:rPr lang="uk-UA" sz="1100" dirty="0" smtClean="0">
                <a:latin typeface="Century Gothic" panose="020B0502020202020204" pitchFamily="34" charset="0"/>
              </a:rPr>
              <a:t>п. Лоренцо </a:t>
            </a:r>
            <a:r>
              <a:rPr lang="uk-UA" sz="1100" dirty="0" err="1" smtClean="0">
                <a:latin typeface="Century Gothic" panose="020B0502020202020204" pitchFamily="34" charset="0"/>
              </a:rPr>
              <a:t>Фоссі</a:t>
            </a:r>
            <a:r>
              <a:rPr lang="uk-UA" sz="1100" dirty="0" smtClean="0">
                <a:latin typeface="Century Gothic" panose="020B0502020202020204" pitchFamily="34" charset="0"/>
              </a:rPr>
              <a:t>, представник акціонера.</a:t>
            </a:r>
          </a:p>
          <a:p>
            <a:pPr algn="just">
              <a:buFont typeface="Wingdings" panose="05000000000000000000" pitchFamily="2" charset="2"/>
              <a:buChar char="Ø"/>
            </a:pPr>
            <a:endParaRPr lang="uk-UA" sz="1100" b="1" dirty="0" smtClean="0">
              <a:latin typeface="Century Gothic" panose="020B0502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uk-UA" sz="1100" dirty="0" smtClean="0">
                <a:latin typeface="Century Gothic" panose="020B0502020202020204" pitchFamily="34" charset="0"/>
              </a:rPr>
              <a:t>Протягом 2021 року </a:t>
            </a:r>
            <a:r>
              <a:rPr lang="uk-UA" sz="1100" b="1" dirty="0" smtClean="0">
                <a:latin typeface="Century Gothic" panose="020B0502020202020204" pitchFamily="34" charset="0"/>
              </a:rPr>
              <a:t>в складі Наглядової Ради Банку відбулися наступні зміни</a:t>
            </a:r>
            <a:r>
              <a:rPr lang="uk-UA" sz="1100" dirty="0" smtClean="0">
                <a:latin typeface="Century Gothic" panose="020B0502020202020204" pitchFamily="34" charset="0"/>
              </a:rPr>
              <a:t>: з 29.12.2021 припинено повноваження члена Наглядової Ради п. </a:t>
            </a:r>
            <a:r>
              <a:rPr lang="uk-UA" sz="1100" dirty="0" err="1" smtClean="0">
                <a:latin typeface="Century Gothic" panose="020B0502020202020204" pitchFamily="34" charset="0"/>
              </a:rPr>
              <a:t>Емануеле</a:t>
            </a:r>
            <a:r>
              <a:rPr lang="uk-UA" sz="1100" dirty="0" smtClean="0">
                <a:latin typeface="Century Gothic" panose="020B0502020202020204" pitchFamily="34" charset="0"/>
              </a:rPr>
              <a:t> </a:t>
            </a:r>
            <a:r>
              <a:rPr lang="uk-UA" sz="1100" dirty="0" err="1" smtClean="0">
                <a:latin typeface="Century Gothic" panose="020B0502020202020204" pitchFamily="34" charset="0"/>
              </a:rPr>
              <a:t>Колліні</a:t>
            </a:r>
            <a:r>
              <a:rPr lang="uk-UA" sz="1100" dirty="0" smtClean="0">
                <a:latin typeface="Century Gothic" panose="020B0502020202020204" pitchFamily="34" charset="0"/>
              </a:rPr>
              <a:t>, представника акціонера, за його власним бажанням (у зв’язку з його виходом на пенсію) відповідно до його письмового повідомлення до Банку від 14.12.2021. Станом на дату припинення повноважень члена Наглядової Ради не було обрано жодної особи, яка замінила б п. </a:t>
            </a:r>
            <a:r>
              <a:rPr lang="uk-UA" sz="1100" dirty="0" err="1" smtClean="0">
                <a:latin typeface="Century Gothic" panose="020B0502020202020204" pitchFamily="34" charset="0"/>
              </a:rPr>
              <a:t>Емануеле</a:t>
            </a:r>
            <a:r>
              <a:rPr lang="uk-UA" sz="1100" dirty="0" smtClean="0">
                <a:latin typeface="Century Gothic" panose="020B0502020202020204" pitchFamily="34" charset="0"/>
              </a:rPr>
              <a:t> </a:t>
            </a:r>
            <a:r>
              <a:rPr lang="uk-UA" sz="1100" dirty="0" err="1" smtClean="0">
                <a:latin typeface="Century Gothic" panose="020B0502020202020204" pitchFamily="34" charset="0"/>
              </a:rPr>
              <a:t>Колліні</a:t>
            </a:r>
            <a:r>
              <a:rPr lang="uk-UA" sz="1100" dirty="0" smtClean="0">
                <a:latin typeface="Century Gothic" panose="020B0502020202020204" pitchFamily="34" charset="0"/>
              </a:rPr>
              <a:t> на його посаді.</a:t>
            </a:r>
          </a:p>
          <a:p>
            <a:pPr algn="just">
              <a:buFont typeface="Wingdings" panose="05000000000000000000" pitchFamily="2" charset="2"/>
              <a:buChar char="Ø"/>
            </a:pPr>
            <a:endParaRPr lang="ru-UA" sz="1100" dirty="0">
              <a:latin typeface="Century Gothic" panose="020B0502020202020204" pitchFamily="34" charset="0"/>
            </a:endParaRPr>
          </a:p>
        </p:txBody>
      </p:sp>
      <p:graphicFrame>
        <p:nvGraphicFramePr>
          <p:cNvPr id="5124" name="Object 4"/>
          <p:cNvGraphicFramePr>
            <a:graphicFrameLocks noChangeAspect="1"/>
          </p:cNvGraphicFramePr>
          <p:nvPr/>
        </p:nvGraphicFramePr>
        <p:xfrm>
          <a:off x="4483100" y="3232150"/>
          <a:ext cx="177800" cy="393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7" name="Формула" r:id="rId4" imgW="177646" imgH="393359" progId="Equation.3">
                  <p:embed/>
                </p:oleObj>
              </mc:Choice>
              <mc:Fallback>
                <p:oleObj name="Формула" r:id="rId4" imgW="177646" imgH="393359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83100" y="3232150"/>
                        <a:ext cx="177800" cy="393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egnaposto numero diapositiva 14"/>
          <p:cNvSpPr>
            <a:spLocks noGrp="1"/>
          </p:cNvSpPr>
          <p:nvPr/>
        </p:nvSpPr>
        <p:spPr bwMode="auto">
          <a:xfrm>
            <a:off x="8729663" y="87313"/>
            <a:ext cx="41433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fld id="{A5647CF0-D2DF-4599-B134-93BE76BE6AE8}" type="slidenum">
              <a:rPr lang="it-IT" altLang="it-IT" sz="1200" b="1">
                <a:solidFill>
                  <a:srgbClr val="EC6400"/>
                </a:solidFill>
              </a:rPr>
              <a:pPr algn="ctr" eaLnBrk="1" hangingPunct="1"/>
              <a:t>2</a:t>
            </a:fld>
            <a:endParaRPr lang="it-IT" altLang="it-IT" sz="1200" b="1" dirty="0">
              <a:solidFill>
                <a:srgbClr val="EC64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409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24603" y="128588"/>
            <a:ext cx="8229600" cy="6477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fontAlgn="auto">
              <a:spcAft>
                <a:spcPts val="0"/>
              </a:spcAft>
              <a:defRPr/>
            </a:pPr>
            <a:r>
              <a:rPr lang="uk-UA" sz="1600" b="1" dirty="0" smtClean="0">
                <a:solidFill>
                  <a:srgbClr val="EC6400"/>
                </a:solidFill>
                <a:latin typeface="Century Gothic" panose="020B0502020202020204" pitchFamily="34" charset="0"/>
                <a:ea typeface="+mj-ea"/>
                <a:cs typeface="Arial"/>
              </a:rPr>
              <a:t>СТАТИСТИКА ВІДВІДУВАННЯ ЗАСІДАНЬ ЧЛЕНАМИ НАГЛЯДОВОЇ РАДИ</a:t>
            </a:r>
            <a:endParaRPr lang="en-US" sz="1600" b="1" dirty="0">
              <a:solidFill>
                <a:srgbClr val="EC6400"/>
              </a:solidFill>
              <a:latin typeface="Century Gothic" panose="020B0502020202020204" pitchFamily="34" charset="0"/>
              <a:ea typeface="+mj-ea"/>
              <a:cs typeface="Arial"/>
            </a:endParaRPr>
          </a:p>
        </p:txBody>
      </p:sp>
      <p:sp>
        <p:nvSpPr>
          <p:cNvPr id="9" name="Segnaposto numero diapositiva 14"/>
          <p:cNvSpPr>
            <a:spLocks noGrp="1"/>
          </p:cNvSpPr>
          <p:nvPr/>
        </p:nvSpPr>
        <p:spPr bwMode="auto">
          <a:xfrm>
            <a:off x="8729663" y="87313"/>
            <a:ext cx="41433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fld id="{A5647CF0-D2DF-4599-B134-93BE76BE6AE8}" type="slidenum">
              <a:rPr lang="it-IT" altLang="it-IT" sz="1200" b="1">
                <a:solidFill>
                  <a:srgbClr val="EC6400"/>
                </a:solidFill>
              </a:rPr>
              <a:pPr algn="ctr" eaLnBrk="1" hangingPunct="1"/>
              <a:t>3</a:t>
            </a:fld>
            <a:endParaRPr lang="it-IT" altLang="it-IT" sz="1200" b="1">
              <a:solidFill>
                <a:srgbClr val="EC64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3528" y="2132856"/>
            <a:ext cx="3456384" cy="27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52033" y="469351"/>
            <a:ext cx="8107377" cy="6497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В 2021 році, було проведено 18 засідань Наглядової Ради:</a:t>
            </a:r>
          </a:p>
          <a:p>
            <a:pPr marL="171450" indent="-171450">
              <a:buFontTx/>
              <a:buChar char="-"/>
            </a:pP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шляхом особистої присутності або відео-конференції: 12</a:t>
            </a:r>
          </a:p>
          <a:p>
            <a:pPr marL="171450" indent="-171450">
              <a:buFontTx/>
              <a:buChar char="-"/>
            </a:pP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шляхом електронного листування: 6</a:t>
            </a:r>
          </a:p>
          <a:p>
            <a:endParaRPr lang="uk-UA" sz="105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lvl="0"/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.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Еціо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Салваї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Голова Наглядової Ради,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18 з 18 засідань Наглядової Ради</a:t>
            </a:r>
          </a:p>
          <a:p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 </a:t>
            </a:r>
          </a:p>
          <a:p>
            <a:pPr lvl="0"/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.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Коррадо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Казаліно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заступник Голови Наглядової Ради, незалежний член,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18 з 18 засідань Наглядової Ради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6 з 6 засідань комітету з питань аудиту 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7 з 8 засідань комітету з управління ризиками</a:t>
            </a:r>
          </a:p>
          <a:p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 </a:t>
            </a:r>
          </a:p>
          <a:p>
            <a:pPr lvl="0"/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.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Фабріціо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Маллен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езалежний член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18 з 18 засідань Наглядової Ради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8 з 8 засідань комітету з управління ризиками</a:t>
            </a:r>
          </a:p>
          <a:p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 </a:t>
            </a:r>
          </a:p>
          <a:p>
            <a:pPr lvl="0"/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. Лаура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Феббраро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езалежний член,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ла присутня на 18 з 18 засідань Наглядової Ради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ла присутня на 6 з 6 засідань комітету з питань аудиту 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 </a:t>
            </a:r>
          </a:p>
          <a:p>
            <a:pPr lvl="0"/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.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Андреа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Фаццоларі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18 з 18 засідань Наглядової Ради</a:t>
            </a:r>
          </a:p>
          <a:p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  </a:t>
            </a:r>
          </a:p>
          <a:p>
            <a:pPr lvl="0"/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. Лоренцо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Фоссі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редставник акціонера,  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18 з 18 засідань Наглядової Ради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6 з 6 засідань комітету з питань аудиту </a:t>
            </a:r>
          </a:p>
          <a:p>
            <a:pPr lvl="0"/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 </a:t>
            </a:r>
          </a:p>
          <a:p>
            <a:pPr>
              <a:lnSpc>
                <a:spcPct val="150000"/>
              </a:lnSpc>
            </a:pP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.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Емануеле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uk-UA" sz="105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Колліні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редставник акціонера,  </a:t>
            </a:r>
          </a:p>
          <a:p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16 з 18 засідань Наглядової Ради</a:t>
            </a:r>
          </a:p>
          <a:p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ув присутній на 8 з 8 засідань комітету з управління ризиками</a:t>
            </a:r>
          </a:p>
          <a:p>
            <a:endParaRPr lang="uk-UA" sz="105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Відсутність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uk-UA" sz="1050" dirty="0">
                <a:solidFill>
                  <a:schemeClr val="tx1"/>
                </a:solidFill>
                <a:latin typeface="Century Gothic" panose="020B0502020202020204" pitchFamily="34" charset="0"/>
              </a:rPr>
              <a:t>Членів Наглядової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ади </a:t>
            </a:r>
            <a:r>
              <a:rPr lang="uk-UA" sz="1050" dirty="0">
                <a:solidFill>
                  <a:schemeClr val="tx1"/>
                </a:solidFill>
                <a:latin typeface="Century Gothic" panose="020B0502020202020204" pitchFamily="34" charset="0"/>
              </a:rPr>
              <a:t>на її засіданнях або засіданнях її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комітетів </a:t>
            </a:r>
            <a:r>
              <a:rPr lang="uk-UA" sz="1050" dirty="0">
                <a:solidFill>
                  <a:schemeClr val="tx1"/>
                </a:solidFill>
                <a:latin typeface="Century Gothic" panose="020B0502020202020204" pitchFamily="34" charset="0"/>
              </a:rPr>
              <a:t>була </a:t>
            </a:r>
            <a:r>
              <a:rPr lang="uk-UA" sz="1050" b="1" dirty="0">
                <a:solidFill>
                  <a:schemeClr val="tx1"/>
                </a:solidFill>
                <a:latin typeface="Century Gothic" panose="020B0502020202020204" pitchFamily="34" charset="0"/>
              </a:rPr>
              <a:t>спричинена хворобою та/або відпусткою під час проведення таких засідань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.</a:t>
            </a:r>
            <a:endParaRPr lang="uk-UA" sz="105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uk-UA" sz="1050" dirty="0">
                <a:solidFill>
                  <a:schemeClr val="tx1"/>
                </a:solidFill>
                <a:latin typeface="Century Gothic" panose="020B0502020202020204" pitchFamily="34" charset="0"/>
              </a:rPr>
              <a:t>Протягом звітного періоду 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фактів </a:t>
            </a:r>
            <a:r>
              <a:rPr lang="uk-UA" sz="1050" b="1" dirty="0">
                <a:solidFill>
                  <a:schemeClr val="tx1"/>
                </a:solidFill>
                <a:latin typeface="Century Gothic" panose="020B0502020202020204" pitchFamily="34" charset="0"/>
              </a:rPr>
              <a:t>неприйнятної поведінки членів Наглядової 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ади </a:t>
            </a:r>
            <a:r>
              <a:rPr lang="uk-UA" sz="1050" b="1" dirty="0">
                <a:solidFill>
                  <a:schemeClr val="tx1"/>
                </a:solidFill>
                <a:latin typeface="Century Gothic" panose="020B0502020202020204" pitchFamily="34" charset="0"/>
              </a:rPr>
              <a:t>Б</a:t>
            </a:r>
            <a:r>
              <a:rPr lang="uk-UA" sz="105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анку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(в тому числі </a:t>
            </a:r>
            <a:r>
              <a:rPr lang="uk-UA" sz="1050" dirty="0">
                <a:solidFill>
                  <a:schemeClr val="tx1"/>
                </a:solidFill>
                <a:latin typeface="Century Gothic" panose="020B0502020202020204" pitchFamily="34" charset="0"/>
              </a:rPr>
              <a:t>повідомлені конфіденційним шляхом)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та </a:t>
            </a:r>
            <a:r>
              <a:rPr lang="uk-UA" sz="1050" b="1" dirty="0">
                <a:solidFill>
                  <a:schemeClr val="tx1"/>
                </a:solidFill>
                <a:latin typeface="Century Gothic" panose="020B0502020202020204" pitchFamily="34" charset="0"/>
              </a:rPr>
              <a:t>вжитих за результатами розслідування заходів у разі наявності впливу таких фактів/заходів на виплату винагороди</a:t>
            </a:r>
            <a:r>
              <a:rPr lang="uk-UA" sz="1050" dirty="0">
                <a:solidFill>
                  <a:schemeClr val="tx1"/>
                </a:solidFill>
                <a:latin typeface="Century Gothic" panose="020B0502020202020204" pitchFamily="34" charset="0"/>
              </a:rPr>
              <a:t> членам Наглядової 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ади не </a:t>
            </a:r>
            <a:r>
              <a:rPr lang="uk-UA" sz="1050" dirty="0">
                <a:solidFill>
                  <a:schemeClr val="tx1"/>
                </a:solidFill>
                <a:latin typeface="Century Gothic" panose="020B0502020202020204" pitchFamily="34" charset="0"/>
              </a:rPr>
              <a:t>було</a:t>
            </a:r>
            <a:r>
              <a:rPr lang="uk-UA" sz="105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.</a:t>
            </a:r>
            <a:endParaRPr lang="uk-UA" sz="105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just"/>
            <a:endParaRPr lang="uk-UA" sz="105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50000"/>
              </a:lnSpc>
            </a:pPr>
            <a:endParaRPr lang="uk-UA" sz="110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085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4625"/>
            <a:ext cx="8218488" cy="590079"/>
          </a:xfrm>
        </p:spPr>
        <p:txBody>
          <a:bodyPr/>
          <a:lstStyle/>
          <a:p>
            <a:r>
              <a:rPr lang="ru-RU" sz="16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/>
              </a:rPr>
              <a:t>ІНФОРМАЦІЯ ПРО ВИНАГОРОДУ ЧЛЕНІВ НАГЛЯДОВОЇ РАДИ</a:t>
            </a:r>
            <a:endParaRPr lang="ru-UA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819" y="980728"/>
            <a:ext cx="8218488" cy="4730775"/>
          </a:xfrm>
        </p:spPr>
        <p:txBody>
          <a:bodyPr/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uk-UA" sz="1200" dirty="0" smtClean="0">
                <a:latin typeface="Century Gothic" panose="020B0502020202020204" pitchFamily="34" charset="0"/>
              </a:rPr>
              <a:t>В 2021 році </a:t>
            </a:r>
            <a:r>
              <a:rPr lang="uk-UA" sz="1200" b="1" dirty="0" smtClean="0">
                <a:latin typeface="Century Gothic" panose="020B0502020202020204" pitchFamily="34" charset="0"/>
              </a:rPr>
              <a:t>винагорода</a:t>
            </a:r>
            <a:r>
              <a:rPr lang="uk-UA" sz="1200" dirty="0" smtClean="0">
                <a:latin typeface="Century Gothic" panose="020B0502020202020204" pitchFamily="34" charset="0"/>
              </a:rPr>
              <a:t> таким членам Наглядової Ради АТ "ПРАВЕКС БАНК" </a:t>
            </a:r>
            <a:r>
              <a:rPr lang="uk-UA" sz="1200" b="1" dirty="0" smtClean="0">
                <a:latin typeface="Century Gothic" panose="020B0502020202020204" pitchFamily="34" charset="0"/>
              </a:rPr>
              <a:t>виплачувалась відповідно до Рішень Єдиного акціонера Банку від 22 квітня 2021 року</a:t>
            </a:r>
            <a:r>
              <a:rPr lang="uk-UA" sz="1200" dirty="0" smtClean="0">
                <a:latin typeface="Century Gothic" panose="020B0502020202020204" pitchFamily="34" charset="0"/>
              </a:rPr>
              <a:t> №</a:t>
            </a:r>
            <a:r>
              <a:rPr lang="uk-UA" sz="1200" dirty="0">
                <a:latin typeface="Century Gothic" panose="020B0502020202020204" pitchFamily="34" charset="0"/>
              </a:rPr>
              <a:t> </a:t>
            </a:r>
            <a:r>
              <a:rPr lang="en-GB" sz="1200" dirty="0" smtClean="0">
                <a:latin typeface="Century Gothic" panose="020B0502020202020204" pitchFamily="34" charset="0"/>
              </a:rPr>
              <a:t>1/2021</a:t>
            </a:r>
            <a:r>
              <a:rPr lang="uk-UA" sz="1200" dirty="0" smtClean="0">
                <a:latin typeface="Century Gothic" panose="020B0502020202020204" pitchFamily="34" charset="0"/>
              </a:rPr>
              <a:t> та на основі укладених з такими членами цивільно-правових договорів за їх участь в такому органі та інших комітетах Наглядової Ради за звітний рік. </a:t>
            </a:r>
          </a:p>
          <a:p>
            <a:pPr marL="0" indent="0" algn="just">
              <a:buNone/>
            </a:pPr>
            <a:endParaRPr lang="en-US" sz="1200" dirty="0">
              <a:latin typeface="Century Gothic" panose="020B0502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uk-UA" sz="1200" dirty="0" smtClean="0">
                <a:latin typeface="Century Gothic" panose="020B0502020202020204" pitchFamily="34" charset="0"/>
              </a:rPr>
              <a:t>Відповідно до Рішення Єдиного акціонера Банку, </a:t>
            </a:r>
            <a:r>
              <a:rPr lang="uk-UA" sz="1200" b="1" dirty="0" smtClean="0">
                <a:latin typeface="Century Gothic" panose="020B0502020202020204" pitchFamily="34" charset="0"/>
              </a:rPr>
              <a:t>винагорода виплачується лише чотирьом членам Наглядової Ради</a:t>
            </a:r>
            <a:r>
              <a:rPr lang="uk-UA" sz="1200" dirty="0" smtClean="0">
                <a:latin typeface="Century Gothic" panose="020B0502020202020204" pitchFamily="34" charset="0"/>
              </a:rPr>
              <a:t>: трьом незалежним членам та Голові Наглядової </a:t>
            </a:r>
            <a:r>
              <a:rPr lang="uk-UA" sz="1200" dirty="0">
                <a:latin typeface="Century Gothic" panose="020B0502020202020204" pitchFamily="34" charset="0"/>
              </a:rPr>
              <a:t>Р</a:t>
            </a:r>
            <a:r>
              <a:rPr lang="uk-UA" sz="1200" dirty="0" smtClean="0">
                <a:latin typeface="Century Gothic" panose="020B0502020202020204" pitchFamily="34" charset="0"/>
              </a:rPr>
              <a:t>ади. </a:t>
            </a:r>
          </a:p>
          <a:p>
            <a:pPr marL="0" indent="0" algn="just">
              <a:buNone/>
            </a:pPr>
            <a:endParaRPr lang="ru-UA" sz="1200" dirty="0">
              <a:latin typeface="Century Gothic" panose="020B0502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uk-UA" sz="1200" b="1" dirty="0" smtClean="0">
                <a:latin typeface="Century Gothic" panose="020B0502020202020204" pitchFamily="34" charset="0"/>
              </a:rPr>
              <a:t>Загальна річна (фіксована) винагорода, </a:t>
            </a:r>
            <a:r>
              <a:rPr lang="uk-UA" sz="1200" dirty="0" smtClean="0">
                <a:latin typeface="Century Gothic" panose="020B0502020202020204" pitchFamily="34" charset="0"/>
              </a:rPr>
              <a:t>що виплачується членам Наглядової Ради АТ «ПРАВЕКС БАНК»  протягом 2021 року становить</a:t>
            </a:r>
            <a:r>
              <a:rPr lang="uk-UA" sz="1200" b="1" dirty="0" smtClean="0">
                <a:latin typeface="Century Gothic" panose="020B0502020202020204" pitchFamily="34" charset="0"/>
              </a:rPr>
              <a:t> 51 826,37 євро = 1 754 058,38 гривень після оподаткування.        </a:t>
            </a:r>
          </a:p>
          <a:p>
            <a:pPr marL="0" indent="0" algn="just">
              <a:buNone/>
            </a:pPr>
            <a:endParaRPr lang="ru-UA" sz="1200" dirty="0">
              <a:latin typeface="Century Gothic" panose="020B0502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uk-UA" sz="1200" dirty="0" smtClean="0">
                <a:latin typeface="Century Gothic" panose="020B0502020202020204" pitchFamily="34" charset="0"/>
              </a:rPr>
              <a:t>Відповідно до рішень акціонера та умов цивільно-правових договорів </a:t>
            </a:r>
            <a:r>
              <a:rPr lang="uk-UA" sz="1200" b="1" dirty="0" smtClean="0">
                <a:latin typeface="Century Gothic" panose="020B0502020202020204" pitchFamily="34" charset="0"/>
              </a:rPr>
              <a:t>винагороду було </a:t>
            </a:r>
            <a:r>
              <a:rPr lang="uk-UA" sz="1200" b="1" dirty="0" err="1" smtClean="0">
                <a:latin typeface="Century Gothic" panose="020B0502020202020204" pitchFamily="34" charset="0"/>
              </a:rPr>
              <a:t>виплачено</a:t>
            </a:r>
            <a:r>
              <a:rPr lang="uk-UA" sz="1200" b="1" dirty="0" smtClean="0">
                <a:latin typeface="Century Gothic" panose="020B0502020202020204" pitchFamily="34" charset="0"/>
              </a:rPr>
              <a:t> «15» грудня 2021 року</a:t>
            </a:r>
            <a:r>
              <a:rPr lang="uk-UA" sz="1200" dirty="0" smtClean="0">
                <a:latin typeface="Century Gothic" panose="020B0502020202020204" pitchFamily="34" charset="0"/>
              </a:rPr>
              <a:t>, на пропорційній основі, відповідно до ефективності виконання їх повноважень та в порядку, визначеному цивільно-правовим договором. </a:t>
            </a:r>
          </a:p>
          <a:p>
            <a:pPr marL="0" indent="0" algn="just">
              <a:buNone/>
            </a:pPr>
            <a:endParaRPr lang="ru-UA" sz="1200" dirty="0">
              <a:latin typeface="Century Gothic" panose="020B0502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uk-UA" sz="1200" b="1" dirty="0" smtClean="0">
                <a:latin typeface="Century Gothic" panose="020B0502020202020204" pitchFamily="34" charset="0"/>
              </a:rPr>
              <a:t>У випадку дострокового припинення повноважень члена Наглядової Ради, </a:t>
            </a:r>
            <a:r>
              <a:rPr lang="uk-UA" sz="1200" dirty="0" smtClean="0">
                <a:latin typeface="Century Gothic" panose="020B0502020202020204" pitchFamily="34" charset="0"/>
              </a:rPr>
              <a:t>який отримує винагороду, з будь-яких причин, Банк </a:t>
            </a:r>
            <a:r>
              <a:rPr lang="uk-UA" sz="1200" b="1" dirty="0" smtClean="0">
                <a:latin typeface="Century Gothic" panose="020B0502020202020204" pitchFamily="34" charset="0"/>
              </a:rPr>
              <a:t>здійснює виплату такої винагороди в сумі, пропорційній відпрацьованому часу, протягом одного місяця з дати припинення повноважень.</a:t>
            </a:r>
          </a:p>
          <a:p>
            <a:pPr marL="0" indent="0" algn="just">
              <a:buNone/>
            </a:pPr>
            <a:endParaRPr lang="ru-UA" sz="1200" dirty="0">
              <a:latin typeface="Century Gothic" panose="020B0502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uk-UA" sz="1200" dirty="0" smtClean="0">
                <a:latin typeface="Century Gothic" panose="020B0502020202020204" pitchFamily="34" charset="0"/>
              </a:rPr>
              <a:t>Нарахована членам Наглядової Ради </a:t>
            </a:r>
            <a:r>
              <a:rPr lang="uk-UA" sz="1200" b="1" dirty="0" smtClean="0">
                <a:latin typeface="Century Gothic" panose="020B0502020202020204" pitchFamily="34" charset="0"/>
              </a:rPr>
              <a:t>винагорода виплачувалась у безготівковій формі </a:t>
            </a:r>
            <a:r>
              <a:rPr lang="uk-UA" sz="1200" dirty="0" smtClean="0">
                <a:latin typeface="Century Gothic" panose="020B0502020202020204" pitchFamily="34" charset="0"/>
              </a:rPr>
              <a:t>шляхом перерахування її на їх рахунки в іноземній валюті</a:t>
            </a:r>
            <a:r>
              <a:rPr lang="uk-UA" sz="1200" b="1" dirty="0" smtClean="0">
                <a:latin typeface="Century Gothic" panose="020B0502020202020204" pitchFamily="34" charset="0"/>
              </a:rPr>
              <a:t>. </a:t>
            </a:r>
            <a:endParaRPr lang="en-US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3DFE6545-0CF4-4899-9042-5CE7837FDE6C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3874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14337" y="161004"/>
            <a:ext cx="8729663" cy="42009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fontAlgn="auto">
              <a:spcAft>
                <a:spcPts val="0"/>
              </a:spcAft>
              <a:defRPr/>
            </a:pPr>
            <a:r>
              <a:rPr lang="uk-UA" sz="1600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/>
              </a:rPr>
              <a:t>ІНФОРМАЦІЯ ПРО ВИНАГОРОДУ ЧЛЕНІВ НАГЛЯДОВОЇ РАДИ</a:t>
            </a:r>
            <a:endParaRPr lang="en-US" sz="16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Segnaposto numero diapositiva 14"/>
          <p:cNvSpPr>
            <a:spLocks noGrp="1"/>
          </p:cNvSpPr>
          <p:nvPr/>
        </p:nvSpPr>
        <p:spPr bwMode="auto">
          <a:xfrm>
            <a:off x="8729663" y="87313"/>
            <a:ext cx="41433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fld id="{A5647CF0-D2DF-4599-B134-93BE76BE6AE8}" type="slidenum">
              <a:rPr lang="it-IT" altLang="it-IT" sz="1200" b="1">
                <a:solidFill>
                  <a:srgbClr val="EC6400"/>
                </a:solidFill>
              </a:rPr>
              <a:pPr algn="ctr" eaLnBrk="1" hangingPunct="1"/>
              <a:t>5</a:t>
            </a:fld>
            <a:endParaRPr lang="it-IT" altLang="it-IT" sz="1200" b="1">
              <a:solidFill>
                <a:srgbClr val="EC64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95870" y="589955"/>
            <a:ext cx="8640961" cy="48167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uk-UA" sz="1000" dirty="0" smtClean="0"/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uk-UA" sz="1100" dirty="0" smtClean="0">
                <a:latin typeface="Century Gothic" panose="020B0502020202020204" pitchFamily="34" charset="0"/>
              </a:rPr>
              <a:t>Протягом 2021 році </a:t>
            </a:r>
            <a:r>
              <a:rPr lang="uk-UA" sz="1100" b="1" dirty="0" smtClean="0">
                <a:latin typeface="Century Gothic" panose="020B0502020202020204" pitchFamily="34" charset="0"/>
              </a:rPr>
              <a:t>критерії визначення винагороди членам Наглядової Ради не змінювалися</a:t>
            </a:r>
            <a:r>
              <a:rPr lang="uk-UA" sz="1100" dirty="0" smtClean="0">
                <a:latin typeface="Century Gothic" panose="020B0502020202020204" pitchFamily="34" charset="0"/>
              </a:rPr>
              <a:t>, порівняно з попереднім роком. Винагорода членів Наглядової Ради Банку не залежала від річних результатів Банку, та є заздалегідь визначеною фіксованою сумою.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endParaRPr lang="uk-UA" sz="1100" dirty="0" smtClean="0"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uk-UA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Система винагороди членів Наглядової Ради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є частиною Політики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винагороди та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заохочення АТ «ПРАВЕКС БАНК», затвердженої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аглядовою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Радою АТ «ПРАВЕКС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АНК», Протокол засідання № 9_21 від 29.06.2021 та Протокол засідання № 16_21 від 30.11.2021 та затвердженої Рішенням Акціонера №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1/2022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від 10 січня 2022 року. Цю Політику розроблено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та </a:t>
            </a:r>
            <a:r>
              <a:rPr lang="uk-UA" sz="11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імплементовано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на підставі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олітики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винагороди та заохочення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Єдиного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акціонера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анку – Групи </a:t>
            </a:r>
            <a:r>
              <a:rPr lang="uk-UA" sz="11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Інтеза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uk-UA" sz="11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Санпаоло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uk-UA" sz="11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С.п.А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. </a:t>
            </a:r>
            <a:endParaRPr lang="uk-UA" sz="11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just"/>
            <a:endParaRPr lang="uk-UA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Відповідальним підрозділом Банку за впровадження та застосування вимог даної Політики є департамент управління персоналом та організаційними змінами. </a:t>
            </a:r>
          </a:p>
          <a:p>
            <a:pPr algn="just"/>
            <a:endParaRPr lang="uk-UA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uk-UA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“Банк не володіє інформацією про винагороди, отримані кожним членом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аглядової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Р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ади Банку від інших юридичних осіб, пов’язаних відносинами контролю чи афілійованих осіб.</a:t>
            </a:r>
          </a:p>
          <a:p>
            <a:pPr algn="just"/>
            <a:endParaRPr lang="uk-UA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uk-UA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анк не виплачував </a:t>
            </a:r>
            <a:r>
              <a:rPr lang="uk-UA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членам Наглядової Ради Банку </a:t>
            </a:r>
            <a:r>
              <a:rPr lang="uk-UA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додаткову винагороду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за виконання робіт поза межами їх функцій, крім тих, що передбачені їх цивільно-правовими договорами та функціональними обов'язками. </a:t>
            </a:r>
          </a:p>
          <a:p>
            <a:pPr algn="just"/>
            <a:endParaRPr lang="uk-UA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uk-UA" sz="1100" b="1" dirty="0" smtClean="0">
                <a:latin typeface="Century Gothic" panose="020B0502020202020204" pitchFamily="34" charset="0"/>
              </a:rPr>
              <a:t>Банк не надає членам </a:t>
            </a:r>
            <a:r>
              <a:rPr lang="uk-UA" sz="1100" dirty="0" smtClean="0">
                <a:latin typeface="Century Gothic" panose="020B0502020202020204" pitchFamily="34" charset="0"/>
              </a:rPr>
              <a:t>Наглядової Ради </a:t>
            </a:r>
            <a:r>
              <a:rPr lang="uk-UA" sz="1100" b="1" dirty="0" smtClean="0">
                <a:latin typeface="Century Gothic" panose="020B0502020202020204" pitchFamily="34" charset="0"/>
              </a:rPr>
              <a:t>додаткових пільгових програм, зокрема з пенсійного забезпечення</a:t>
            </a:r>
            <a:r>
              <a:rPr lang="uk-UA" sz="1100" dirty="0" smtClean="0">
                <a:latin typeface="Century Gothic" panose="020B0502020202020204" pitchFamily="34" charset="0"/>
              </a:rPr>
              <a:t>. </a:t>
            </a:r>
          </a:p>
          <a:p>
            <a:pPr algn="just"/>
            <a:endParaRPr lang="uk-UA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ротягом звітного періоду </a:t>
            </a:r>
            <a:r>
              <a:rPr lang="uk-UA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жодних винагород у негрошовій формі 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членам Наглядової Ради </a:t>
            </a:r>
            <a:r>
              <a:rPr lang="uk-UA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е виплачувалося</a:t>
            </a:r>
            <a:r>
              <a:rPr lang="uk-UA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.</a:t>
            </a:r>
          </a:p>
          <a:p>
            <a:pPr algn="just"/>
            <a:endParaRPr lang="uk-UA" sz="1100" dirty="0" smtClean="0"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uk-UA" sz="1100" dirty="0" smtClean="0">
                <a:latin typeface="Century Gothic" panose="020B0502020202020204" pitchFamily="34" charset="0"/>
              </a:rPr>
              <a:t>Протягом звітного періоду </a:t>
            </a:r>
            <a:r>
              <a:rPr lang="uk-UA" sz="1100" b="1" dirty="0" smtClean="0">
                <a:latin typeface="Century Gothic" panose="020B0502020202020204" pitchFamily="34" charset="0"/>
              </a:rPr>
              <a:t>жодних відхилень </a:t>
            </a:r>
            <a:r>
              <a:rPr lang="uk-UA" sz="1100" dirty="0" smtClean="0">
                <a:latin typeface="Century Gothic" panose="020B0502020202020204" pitchFamily="34" charset="0"/>
              </a:rPr>
              <a:t>від затверджених умов винагороди членам Наглядової Ради не було та </a:t>
            </a:r>
            <a:r>
              <a:rPr lang="uk-UA" sz="1100" b="1" dirty="0" smtClean="0">
                <a:latin typeface="Century Gothic" panose="020B0502020202020204" pitchFamily="34" charset="0"/>
              </a:rPr>
              <a:t>жодних порушень умов </a:t>
            </a:r>
            <a:r>
              <a:rPr lang="uk-UA" sz="1100" dirty="0" smtClean="0">
                <a:latin typeface="Century Gothic" panose="020B0502020202020204" pitchFamily="34" charset="0"/>
              </a:rPr>
              <a:t>Політики винагороди та заохочення Банку виявлено не було.</a:t>
            </a:r>
          </a:p>
          <a:p>
            <a:pPr algn="just"/>
            <a:endParaRPr lang="uk-UA" sz="1100" dirty="0" smtClean="0">
              <a:latin typeface="Century Gothic" panose="020B050202020202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uk-UA" sz="1100" dirty="0" smtClean="0">
                <a:latin typeface="Century Gothic" panose="020B0502020202020204" pitchFamily="34" charset="0"/>
              </a:rPr>
              <a:t>Протягом звітного періоду </a:t>
            </a:r>
            <a:r>
              <a:rPr lang="uk-UA" sz="1100" b="1" dirty="0" smtClean="0">
                <a:latin typeface="Century Gothic" panose="020B0502020202020204" pitchFamily="34" charset="0"/>
              </a:rPr>
              <a:t>Банк не надавав членам Наглядової Ради жодних кредитів, позик або гарантій.</a:t>
            </a:r>
            <a:endParaRPr lang="uk-UA" sz="11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52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gNj6DakafgJKwOOMABg"/>
</p:tagLst>
</file>

<file path=ppt/theme/theme1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Arial" charset="0"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Arial" charset="0"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truttura personalizza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F5F00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Personalizza struttura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Struttura personalizza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F5F00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Struttura personalizza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F5F00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1_Personalizza struttura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Struttura personalizza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F5F00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4_Struttura personalizzat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F5F00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500</TotalTime>
  <Words>780</Words>
  <Application>Microsoft Office PowerPoint</Application>
  <PresentationFormat>Экран (4:3)</PresentationFormat>
  <Paragraphs>95</Paragraphs>
  <Slides>5</Slides>
  <Notes>4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  <vt:variant>
        <vt:lpstr>Произвольные показы</vt:lpstr>
      </vt:variant>
      <vt:variant>
        <vt:i4>1</vt:i4>
      </vt:variant>
    </vt:vector>
  </HeadingPairs>
  <TitlesOfParts>
    <vt:vector size="25" baseType="lpstr">
      <vt:lpstr>Arial Unicode MS</vt:lpstr>
      <vt:lpstr>MS PGothic</vt:lpstr>
      <vt:lpstr>MS PGothic</vt:lpstr>
      <vt:lpstr>Arial</vt:lpstr>
      <vt:lpstr>Calibri</vt:lpstr>
      <vt:lpstr>Century Gothic</vt:lpstr>
      <vt:lpstr>Times New Roman</vt:lpstr>
      <vt:lpstr>Verdana</vt:lpstr>
      <vt:lpstr>Wingdings</vt:lpstr>
      <vt:lpstr>1_Оформление по умолчанию</vt:lpstr>
      <vt:lpstr>Тема1</vt:lpstr>
      <vt:lpstr>Struttura personalizzata</vt:lpstr>
      <vt:lpstr>Personalizza struttura</vt:lpstr>
      <vt:lpstr>1_Struttura personalizzata</vt:lpstr>
      <vt:lpstr>2_Struttura personalizzata</vt:lpstr>
      <vt:lpstr>1_Personalizza struttura</vt:lpstr>
      <vt:lpstr>3_Struttura personalizzata</vt:lpstr>
      <vt:lpstr>4_Struttura personalizzata</vt:lpstr>
      <vt:lpstr>Формула</vt:lpstr>
      <vt:lpstr>Презентация PowerPoint</vt:lpstr>
      <vt:lpstr>Склад Наглядової Ради</vt:lpstr>
      <vt:lpstr>СТАТИСТИКА ВІДВІДУВАННЯ ЗАСІДАНЬ ЧЛЕНАМИ НАГЛЯДОВОЇ РАДИ</vt:lpstr>
      <vt:lpstr>ІНФОРМАЦІЯ ПРО ВИНАГОРОДУ ЧЛЕНІВ НАГЛЯДОВОЇ РАДИ</vt:lpstr>
      <vt:lpstr>ІНФОРМАЦІЯ ПРО ВИНАГОРОДУ ЧЛЕНІВ НАГЛЯДОВОЇ РАДИ</vt:lpstr>
      <vt:lpstr>Произвольный показ 1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p058965</dc:creator>
  <cp:lastModifiedBy>Nechkina Polina Serhiivna</cp:lastModifiedBy>
  <cp:revision>2383</cp:revision>
  <cp:lastPrinted>2019-02-13T19:18:30Z</cp:lastPrinted>
  <dcterms:modified xsi:type="dcterms:W3CDTF">2022-04-25T19:19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5fe31f-9de1-4167-a753-111c0df8115f_Enabled">
    <vt:lpwstr>true</vt:lpwstr>
  </property>
  <property fmtid="{D5CDD505-2E9C-101B-9397-08002B2CF9AE}" pid="3" name="MSIP_Label_5f5fe31f-9de1-4167-a753-111c0df8115f_SetDate">
    <vt:lpwstr>2022-03-29T11:38:49Z</vt:lpwstr>
  </property>
  <property fmtid="{D5CDD505-2E9C-101B-9397-08002B2CF9AE}" pid="4" name="MSIP_Label_5f5fe31f-9de1-4167-a753-111c0df8115f_Method">
    <vt:lpwstr>Standard</vt:lpwstr>
  </property>
  <property fmtid="{D5CDD505-2E9C-101B-9397-08002B2CF9AE}" pid="5" name="MSIP_Label_5f5fe31f-9de1-4167-a753-111c0df8115f_Name">
    <vt:lpwstr>5f5fe31f-9de1-4167-a753-111c0df8115f</vt:lpwstr>
  </property>
  <property fmtid="{D5CDD505-2E9C-101B-9397-08002B2CF9AE}" pid="6" name="MSIP_Label_5f5fe31f-9de1-4167-a753-111c0df8115f_SiteId">
    <vt:lpwstr>cc4baf00-15c9-48dd-9f59-88c98bde2be7</vt:lpwstr>
  </property>
  <property fmtid="{D5CDD505-2E9C-101B-9397-08002B2CF9AE}" pid="7" name="MSIP_Label_5f5fe31f-9de1-4167-a753-111c0df8115f_ActionId">
    <vt:lpwstr>ca8705fe-e489-452e-97ec-f5cfacc6173a</vt:lpwstr>
  </property>
  <property fmtid="{D5CDD505-2E9C-101B-9397-08002B2CF9AE}" pid="8" name="MSIP_Label_5f5fe31f-9de1-4167-a753-111c0df8115f_ContentBits">
    <vt:lpwstr>0</vt:lpwstr>
  </property>
</Properties>
</file>